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49" r:id="rId2"/>
    <p:sldMasterId id="2147483696" r:id="rId3"/>
  </p:sldMasterIdLst>
  <p:notesMasterIdLst>
    <p:notesMasterId r:id="rId26"/>
  </p:notesMasterIdLst>
  <p:sldIdLst>
    <p:sldId id="267" r:id="rId4"/>
    <p:sldId id="276" r:id="rId5"/>
    <p:sldId id="388" r:id="rId6"/>
    <p:sldId id="386" r:id="rId7"/>
    <p:sldId id="373" r:id="rId8"/>
    <p:sldId id="389" r:id="rId9"/>
    <p:sldId id="372" r:id="rId10"/>
    <p:sldId id="374" r:id="rId11"/>
    <p:sldId id="375" r:id="rId12"/>
    <p:sldId id="378" r:id="rId13"/>
    <p:sldId id="379" r:id="rId14"/>
    <p:sldId id="380" r:id="rId15"/>
    <p:sldId id="385" r:id="rId16"/>
    <p:sldId id="381" r:id="rId17"/>
    <p:sldId id="382" r:id="rId18"/>
    <p:sldId id="383" r:id="rId19"/>
    <p:sldId id="384" r:id="rId20"/>
    <p:sldId id="390" r:id="rId21"/>
    <p:sldId id="394" r:id="rId22"/>
    <p:sldId id="393" r:id="rId23"/>
    <p:sldId id="365" r:id="rId24"/>
    <p:sldId id="264" r:id="rId25"/>
  </p:sldIdLst>
  <p:sldSz cx="9144000" cy="6858000" type="screen4x3"/>
  <p:notesSz cx="7099300" cy="10234613"/>
  <p:custDataLst>
    <p:tags r:id="rId27"/>
  </p:custDataLst>
  <p:defaultTextStyle>
    <a:defPPr>
      <a:defRPr lang="en-GB"/>
    </a:defPPr>
    <a:lvl1pPr algn="l" defTabSz="449263" rtl="0" eaLnBrk="0" fontAlgn="base" hangingPunct="0">
      <a:spcBef>
        <a:spcPct val="0"/>
      </a:spcBef>
      <a:spcAft>
        <a:spcPct val="0"/>
      </a:spcAft>
      <a:defRPr sz="1600" b="1" kern="1200">
        <a:solidFill>
          <a:srgbClr val="394994"/>
        </a:solidFill>
        <a:latin typeface="Arial Narrow" pitchFamily="34" charset="0"/>
        <a:ea typeface="MS PGothic" pitchFamily="34" charset="-128"/>
        <a:cs typeface="+mn-cs"/>
      </a:defRPr>
    </a:lvl1pPr>
    <a:lvl2pPr marL="742950" indent="-285750" algn="l" defTabSz="449263" rtl="0" eaLnBrk="0" fontAlgn="base" hangingPunct="0">
      <a:spcBef>
        <a:spcPct val="0"/>
      </a:spcBef>
      <a:spcAft>
        <a:spcPct val="0"/>
      </a:spcAft>
      <a:defRPr sz="1600" b="1" kern="1200">
        <a:solidFill>
          <a:srgbClr val="394994"/>
        </a:solidFill>
        <a:latin typeface="Arial Narrow" pitchFamily="34" charset="0"/>
        <a:ea typeface="MS PGothic" pitchFamily="34" charset="-128"/>
        <a:cs typeface="+mn-cs"/>
      </a:defRPr>
    </a:lvl2pPr>
    <a:lvl3pPr marL="1143000" indent="-228600" algn="l" defTabSz="449263" rtl="0" eaLnBrk="0" fontAlgn="base" hangingPunct="0">
      <a:spcBef>
        <a:spcPct val="0"/>
      </a:spcBef>
      <a:spcAft>
        <a:spcPct val="0"/>
      </a:spcAft>
      <a:defRPr sz="1600" b="1" kern="1200">
        <a:solidFill>
          <a:srgbClr val="394994"/>
        </a:solidFill>
        <a:latin typeface="Arial Narrow" pitchFamily="34" charset="0"/>
        <a:ea typeface="MS PGothic" pitchFamily="34" charset="-128"/>
        <a:cs typeface="+mn-cs"/>
      </a:defRPr>
    </a:lvl3pPr>
    <a:lvl4pPr marL="1600200" indent="-228600" algn="l" defTabSz="449263" rtl="0" eaLnBrk="0" fontAlgn="base" hangingPunct="0">
      <a:spcBef>
        <a:spcPct val="0"/>
      </a:spcBef>
      <a:spcAft>
        <a:spcPct val="0"/>
      </a:spcAft>
      <a:defRPr sz="1600" b="1" kern="1200">
        <a:solidFill>
          <a:srgbClr val="394994"/>
        </a:solidFill>
        <a:latin typeface="Arial Narrow" pitchFamily="34" charset="0"/>
        <a:ea typeface="MS PGothic" pitchFamily="34" charset="-128"/>
        <a:cs typeface="+mn-cs"/>
      </a:defRPr>
    </a:lvl4pPr>
    <a:lvl5pPr marL="2057400" indent="-228600" algn="l" defTabSz="449263" rtl="0" eaLnBrk="0" fontAlgn="base" hangingPunct="0">
      <a:spcBef>
        <a:spcPct val="0"/>
      </a:spcBef>
      <a:spcAft>
        <a:spcPct val="0"/>
      </a:spcAft>
      <a:defRPr sz="1600" b="1" kern="1200">
        <a:solidFill>
          <a:srgbClr val="394994"/>
        </a:solidFill>
        <a:latin typeface="Arial Narrow" pitchFamily="34" charset="0"/>
        <a:ea typeface="MS PGothic" pitchFamily="34" charset="-128"/>
        <a:cs typeface="+mn-cs"/>
      </a:defRPr>
    </a:lvl5pPr>
    <a:lvl6pPr marL="2286000" algn="l" defTabSz="914400" rtl="0" eaLnBrk="1" latinLnBrk="0" hangingPunct="1">
      <a:defRPr sz="1600" b="1" kern="1200">
        <a:solidFill>
          <a:srgbClr val="394994"/>
        </a:solidFill>
        <a:latin typeface="Arial Narrow" pitchFamily="34" charset="0"/>
        <a:ea typeface="MS PGothic" pitchFamily="34" charset="-128"/>
        <a:cs typeface="+mn-cs"/>
      </a:defRPr>
    </a:lvl6pPr>
    <a:lvl7pPr marL="2743200" algn="l" defTabSz="914400" rtl="0" eaLnBrk="1" latinLnBrk="0" hangingPunct="1">
      <a:defRPr sz="1600" b="1" kern="1200">
        <a:solidFill>
          <a:srgbClr val="394994"/>
        </a:solidFill>
        <a:latin typeface="Arial Narrow" pitchFamily="34" charset="0"/>
        <a:ea typeface="MS PGothic" pitchFamily="34" charset="-128"/>
        <a:cs typeface="+mn-cs"/>
      </a:defRPr>
    </a:lvl7pPr>
    <a:lvl8pPr marL="3200400" algn="l" defTabSz="914400" rtl="0" eaLnBrk="1" latinLnBrk="0" hangingPunct="1">
      <a:defRPr sz="1600" b="1" kern="1200">
        <a:solidFill>
          <a:srgbClr val="394994"/>
        </a:solidFill>
        <a:latin typeface="Arial Narrow" pitchFamily="34" charset="0"/>
        <a:ea typeface="MS PGothic" pitchFamily="34" charset="-128"/>
        <a:cs typeface="+mn-cs"/>
      </a:defRPr>
    </a:lvl8pPr>
    <a:lvl9pPr marL="3657600" algn="l" defTabSz="914400" rtl="0" eaLnBrk="1" latinLnBrk="0" hangingPunct="1">
      <a:defRPr sz="1600" b="1" kern="1200">
        <a:solidFill>
          <a:srgbClr val="394994"/>
        </a:solidFill>
        <a:latin typeface="Arial Narrow" pitchFamily="34" charset="0"/>
        <a:ea typeface="MS PGothic"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5329">
          <p15:clr>
            <a:srgbClr val="A4A3A4"/>
          </p15:clr>
        </p15:guide>
      </p15:sldGuideLst>
    </p:ext>
    <p:ext uri="{2D200454-40CA-4A62-9FC3-DE9A4176ACB9}">
      <p15:notesGuideLst xmlns:p15="http://schemas.microsoft.com/office/powerpoint/2012/main">
        <p15:guide id="1" orient="horz" pos="2930">
          <p15:clr>
            <a:srgbClr val="A4A3A4"/>
          </p15:clr>
        </p15:guide>
        <p15:guide id="2" pos="223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94994"/>
    <a:srgbClr val="BE1931"/>
    <a:srgbClr val="C5C5C5"/>
    <a:srgbClr val="FDF49A"/>
    <a:srgbClr val="3399FF"/>
    <a:srgbClr val="777777"/>
    <a:srgbClr val="CCCCFF"/>
    <a:srgbClr val="CC99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9" autoAdjust="0"/>
    <p:restoredTop sz="93763" autoAdjust="0"/>
  </p:normalViewPr>
  <p:slideViewPr>
    <p:cSldViewPr showGuides="1">
      <p:cViewPr>
        <p:scale>
          <a:sx n="146" d="100"/>
          <a:sy n="146" d="100"/>
        </p:scale>
        <p:origin x="108" y="-1206"/>
      </p:cViewPr>
      <p:guideLst>
        <p:guide orient="horz" pos="2160"/>
        <p:guide pos="5329"/>
      </p:guideLst>
    </p:cSldViewPr>
  </p:slideViewPr>
  <p:outlineViewPr>
    <p:cViewPr varScale="1">
      <p:scale>
        <a:sx n="170" d="200"/>
        <a:sy n="170" d="200"/>
      </p:scale>
      <p:origin x="-780" y="-84"/>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59" d="100"/>
          <a:sy n="59" d="100"/>
        </p:scale>
        <p:origin x="-1752" y="-72"/>
      </p:cViewPr>
      <p:guideLst>
        <p:guide orient="horz" pos="2930"/>
        <p:guide pos="223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sz="1800" b="1" i="0" baseline="0" dirty="0" err="1" smtClean="0">
                <a:effectLst/>
              </a:rPr>
              <a:t>Anteile</a:t>
            </a:r>
            <a:r>
              <a:rPr lang="en-US" sz="1800" b="1" i="0" baseline="0" dirty="0" smtClean="0">
                <a:effectLst/>
              </a:rPr>
              <a:t> der </a:t>
            </a:r>
            <a:r>
              <a:rPr lang="en-US" sz="1800" b="1" i="0" baseline="0" dirty="0" err="1" smtClean="0">
                <a:effectLst/>
              </a:rPr>
              <a:t>Dachflächenbelegung</a:t>
            </a:r>
            <a:r>
              <a:rPr lang="en-US" sz="1800" b="1" i="0" baseline="0" dirty="0" smtClean="0">
                <a:effectLst/>
              </a:rPr>
              <a:t> von </a:t>
            </a:r>
            <a:r>
              <a:rPr lang="en-US" sz="1800" b="1" i="0" baseline="0" dirty="0" err="1" smtClean="0">
                <a:effectLst/>
              </a:rPr>
              <a:t>Solardynamik</a:t>
            </a:r>
            <a:endParaRPr lang="de-DE" dirty="0" smtClean="0">
              <a:effectLst/>
            </a:endParaRPr>
          </a:p>
          <a:p>
            <a:pPr>
              <a:defRPr/>
            </a:pPr>
            <a:r>
              <a:rPr lang="en-US" sz="1000" baseline="0" dirty="0" smtClean="0"/>
              <a:t>(</a:t>
            </a:r>
            <a:r>
              <a:rPr lang="en-US" sz="1000" baseline="0" dirty="0" err="1"/>
              <a:t>prognostiziert</a:t>
            </a:r>
            <a:r>
              <a:rPr lang="en-US" sz="1000" baseline="0" dirty="0"/>
              <a:t> von 2014-2024)</a:t>
            </a:r>
            <a:endParaRPr lang="en-US" sz="1000" dirty="0"/>
          </a:p>
        </c:rich>
      </c:tx>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de-DE"/>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Tabelle1!$B$1</c:f>
              <c:strCache>
                <c:ptCount val="1"/>
                <c:pt idx="0">
                  <c:v>Dachflächenbelegung</c:v>
                </c:pt>
              </c:strCache>
            </c:strRef>
          </c:tx>
          <c:dPt>
            <c:idx val="0"/>
            <c:bubble3D val="0"/>
            <c:spPr>
              <a:solidFill>
                <a:schemeClr val="accent1"/>
              </a:solidFill>
              <a:ln>
                <a:noFill/>
              </a:ln>
              <a:effectLst>
                <a:outerShdw blurRad="254000" sx="102000" sy="102000" algn="ctr" rotWithShape="0">
                  <a:prstClr val="black">
                    <a:alpha val="20000"/>
                  </a:prstClr>
                </a:outerShdw>
              </a:effectLst>
              <a:sp3d/>
            </c:spPr>
          </c:dPt>
          <c:dPt>
            <c:idx val="1"/>
            <c:bubble3D val="0"/>
            <c:spPr>
              <a:solidFill>
                <a:schemeClr val="accent2"/>
              </a:solidFill>
              <a:ln>
                <a:noFill/>
              </a:ln>
              <a:effectLst>
                <a:outerShdw blurRad="254000" sx="102000" sy="102000" algn="ctr" rotWithShape="0">
                  <a:prstClr val="black">
                    <a:alpha val="20000"/>
                  </a:prstClr>
                </a:outerShdw>
              </a:effectLst>
              <a:sp3d/>
            </c:spPr>
          </c:dPt>
          <c:dPt>
            <c:idx val="2"/>
            <c:bubble3D val="0"/>
            <c:spPr>
              <a:solidFill>
                <a:schemeClr val="accent3"/>
              </a:solidFill>
              <a:ln>
                <a:noFill/>
              </a:ln>
              <a:effectLst>
                <a:outerShdw blurRad="254000" sx="102000" sy="102000" algn="ctr" rotWithShape="0">
                  <a:prstClr val="black">
                    <a:alpha val="20000"/>
                  </a:prstClr>
                </a:outerShdw>
              </a:effectLst>
              <a:sp3d/>
            </c:spPr>
          </c:dPt>
          <c:dPt>
            <c:idx val="3"/>
            <c:bubble3D val="0"/>
            <c:spPr>
              <a:solidFill>
                <a:schemeClr val="accent4"/>
              </a:solidFill>
              <a:ln>
                <a:noFill/>
              </a:ln>
              <a:effectLst>
                <a:outerShdw blurRad="254000" sx="102000" sy="102000" algn="ctr" rotWithShape="0">
                  <a:prstClr val="black">
                    <a:alpha val="20000"/>
                  </a:prstClr>
                </a:outerShdw>
              </a:effectLst>
              <a:sp3d/>
            </c:spPr>
          </c:dPt>
          <c:dLbls>
            <c:dLbl>
              <c:idx val="0"/>
              <c:layout/>
              <c:tx>
                <c:rich>
                  <a:bodyPr/>
                  <a:lstStyle/>
                  <a:p>
                    <a:r>
                      <a:rPr lang="en-US" dirty="0" smtClean="0"/>
                      <a:t>0,34%</a:t>
                    </a:r>
                    <a:endParaRPr lang="en-US" dirty="0"/>
                  </a:p>
                </c:rich>
              </c:tx>
              <c:dLblPos val="ctr"/>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dirty="0" smtClean="0"/>
                      <a:t>0,64%</a:t>
                    </a:r>
                    <a:endParaRPr lang="en-US" dirty="0"/>
                  </a:p>
                </c:rich>
              </c:tx>
              <c:dLblPos val="ctr"/>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dirty="0" smtClean="0"/>
                      <a:t>0,22%</a:t>
                    </a:r>
                    <a:endParaRPr lang="en-US" dirty="0"/>
                  </a:p>
                </c:rich>
              </c:tx>
              <c:dLblPos val="ctr"/>
              <c:showLegendKey val="0"/>
              <c:showVal val="0"/>
              <c:showCatName val="0"/>
              <c:showSerName val="0"/>
              <c:showPercent val="1"/>
              <c:showBubbleSize val="0"/>
              <c:extLst>
                <c:ext xmlns:c15="http://schemas.microsoft.com/office/drawing/2012/chart" uri="{CE6537A1-D6FC-4f65-9D91-7224C49458BB}">
                  <c15:layout/>
                </c:ext>
              </c:extLst>
            </c:dLbl>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Tabelle1!$A$2:$A$5</c:f>
              <c:strCache>
                <c:ptCount val="3"/>
                <c:pt idx="0">
                  <c:v>Europa</c:v>
                </c:pt>
                <c:pt idx="1">
                  <c:v>USA</c:v>
                </c:pt>
                <c:pt idx="2">
                  <c:v>Rest der Welt</c:v>
                </c:pt>
              </c:strCache>
            </c:strRef>
          </c:cat>
          <c:val>
            <c:numRef>
              <c:f>Tabelle1!$B$2:$B$5</c:f>
              <c:numCache>
                <c:formatCode>General</c:formatCode>
                <c:ptCount val="4"/>
                <c:pt idx="0">
                  <c:v>4</c:v>
                </c:pt>
                <c:pt idx="1">
                  <c:v>8</c:v>
                </c:pt>
                <c:pt idx="2">
                  <c:v>1</c:v>
                </c:pt>
              </c:numCache>
            </c:numRef>
          </c:val>
        </c:ser>
        <c:dLbls>
          <c:dLblPos val="ctr"/>
          <c:showLegendKey val="0"/>
          <c:showVal val="0"/>
          <c:showCatName val="0"/>
          <c:showSerName val="0"/>
          <c:showPercent val="1"/>
          <c:showBubbleSize val="0"/>
          <c:showLeaderLines val="1"/>
        </c:dLbls>
      </c:pie3DChart>
      <c:spPr>
        <a:solidFill>
          <a:schemeClr val="bg1"/>
        </a:solidFill>
        <a:ln>
          <a:noFill/>
        </a:ln>
        <a:effectLst/>
      </c:spPr>
    </c:plotArea>
    <c:legend>
      <c:legendPos val="r"/>
      <c:legendEntry>
        <c:idx val="3"/>
        <c:delete val="1"/>
      </c:legendEntry>
      <c:layout>
        <c:manualLayout>
          <c:xMode val="edge"/>
          <c:yMode val="edge"/>
          <c:x val="0.77512454890546434"/>
          <c:y val="0.39022527560922721"/>
          <c:w val="0.16711050577038564"/>
          <c:h val="0.32609124499504311"/>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de-DE"/>
        </a:p>
      </c:txPr>
    </c:legend>
    <c:plotVisOnly val="1"/>
    <c:dispBlanksAs val="gap"/>
    <c:showDLblsOverMax val="0"/>
  </c:chart>
  <c:spPr>
    <a:solidFill>
      <a:schemeClr val="bg1"/>
    </a:solidFill>
    <a:ln w="9525" cap="flat" cmpd="sng" algn="ctr">
      <a:solidFill>
        <a:schemeClr val="dk1">
          <a:lumMod val="25000"/>
          <a:lumOff val="75000"/>
        </a:schemeClr>
      </a:solidFill>
      <a:round/>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Dachflächenbelegung von 8,4 GWp/</a:t>
            </a:r>
            <a:r>
              <a:rPr lang="en-US" baseline="0"/>
              <a:t> Jahr</a:t>
            </a:r>
          </a:p>
          <a:p>
            <a:pPr>
              <a:defRPr/>
            </a:pPr>
            <a:r>
              <a:rPr lang="en-US" sz="1000" baseline="0"/>
              <a:t>(prognostiziert von 2014-2024)</a:t>
            </a:r>
            <a:endParaRPr lang="en-US" sz="1000"/>
          </a:p>
        </c:rich>
      </c:tx>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de-DE"/>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Tabelle1!$B$1</c:f>
              <c:strCache>
                <c:ptCount val="1"/>
                <c:pt idx="0">
                  <c:v>Dachflächenbelegung</c:v>
                </c:pt>
              </c:strCache>
            </c:strRef>
          </c:tx>
          <c:dPt>
            <c:idx val="0"/>
            <c:bubble3D val="0"/>
            <c:spPr>
              <a:solidFill>
                <a:schemeClr val="accent2"/>
              </a:solidFill>
              <a:ln>
                <a:noFill/>
              </a:ln>
              <a:effectLst>
                <a:outerShdw blurRad="254000" sx="102000" sy="102000" algn="ctr" rotWithShape="0">
                  <a:prstClr val="black">
                    <a:alpha val="20000"/>
                  </a:prstClr>
                </a:outerShdw>
              </a:effectLst>
              <a:sp3d/>
            </c:spPr>
          </c:dPt>
          <c:dPt>
            <c:idx val="1"/>
            <c:bubble3D val="0"/>
            <c:spPr>
              <a:solidFill>
                <a:schemeClr val="accent4"/>
              </a:solidFill>
              <a:ln>
                <a:noFill/>
              </a:ln>
              <a:effectLst>
                <a:outerShdw blurRad="254000" sx="102000" sy="102000" algn="ctr" rotWithShape="0">
                  <a:prstClr val="black">
                    <a:alpha val="20000"/>
                  </a:prstClr>
                </a:outerShdw>
              </a:effectLst>
              <a:sp3d/>
            </c:spPr>
          </c:dPt>
          <c:dPt>
            <c:idx val="2"/>
            <c:bubble3D val="0"/>
            <c:spPr>
              <a:solidFill>
                <a:schemeClr val="accent6"/>
              </a:solidFill>
              <a:ln>
                <a:noFill/>
              </a:ln>
              <a:effectLst>
                <a:outerShdw blurRad="254000" sx="102000" sy="102000" algn="ctr" rotWithShape="0">
                  <a:prstClr val="black">
                    <a:alpha val="20000"/>
                  </a:prstClr>
                </a:outerShdw>
              </a:effectLst>
              <a:sp3d/>
            </c:spPr>
          </c:dPt>
          <c:dPt>
            <c:idx val="3"/>
            <c:bubble3D val="0"/>
            <c:spPr>
              <a:solidFill>
                <a:schemeClr val="accent2">
                  <a:lumMod val="60000"/>
                </a:schemeClr>
              </a:solidFill>
              <a:ln>
                <a:noFill/>
              </a:ln>
              <a:effectLst>
                <a:outerShdw blurRad="254000" sx="102000" sy="102000" algn="ctr" rotWithShape="0">
                  <a:prstClr val="black">
                    <a:alpha val="20000"/>
                  </a:prstClr>
                </a:outerShdw>
              </a:effectLst>
              <a:sp3d/>
            </c:spPr>
          </c:dPt>
          <c:dLbls>
            <c:dLbl>
              <c:idx val="0"/>
              <c:layout/>
              <c:tx>
                <c:rich>
                  <a:bodyPr/>
                  <a:lstStyle/>
                  <a:p>
                    <a:r>
                      <a:rPr lang="en-US"/>
                      <a:t>0,3%</a:t>
                    </a:r>
                  </a:p>
                </c:rich>
              </c:tx>
              <c:dLblPos val="ctr"/>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a:t>0,6%</a:t>
                    </a:r>
                  </a:p>
                </c:rich>
              </c:tx>
              <c:dLblPos val="ctr"/>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a:t>0,2%</a:t>
                    </a:r>
                  </a:p>
                </c:rich>
              </c:tx>
              <c:dLblPos val="ctr"/>
              <c:showLegendKey val="0"/>
              <c:showVal val="0"/>
              <c:showCatName val="0"/>
              <c:showSerName val="0"/>
              <c:showPercent val="1"/>
              <c:showBubbleSize val="0"/>
              <c:extLst>
                <c:ext xmlns:c15="http://schemas.microsoft.com/office/drawing/2012/chart" uri="{CE6537A1-D6FC-4f65-9D91-7224C49458BB}">
                  <c15:layout/>
                </c:ext>
              </c:extLst>
            </c:dLbl>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Tabelle1!$A$2:$A$5</c:f>
              <c:strCache>
                <c:ptCount val="3"/>
                <c:pt idx="0">
                  <c:v>Europa</c:v>
                </c:pt>
                <c:pt idx="1">
                  <c:v>USA</c:v>
                </c:pt>
                <c:pt idx="2">
                  <c:v>Rest der Welt</c:v>
                </c:pt>
              </c:strCache>
            </c:strRef>
          </c:cat>
          <c:val>
            <c:numRef>
              <c:f>Tabelle1!$B$2:$B$5</c:f>
              <c:numCache>
                <c:formatCode>General</c:formatCode>
                <c:ptCount val="4"/>
                <c:pt idx="0">
                  <c:v>4</c:v>
                </c:pt>
                <c:pt idx="1">
                  <c:v>8</c:v>
                </c:pt>
                <c:pt idx="2">
                  <c:v>1</c:v>
                </c:pt>
              </c:numCache>
            </c:numRef>
          </c:val>
        </c:ser>
        <c:dLbls>
          <c:dLblPos val="ctr"/>
          <c:showLegendKey val="0"/>
          <c:showVal val="0"/>
          <c:showCatName val="0"/>
          <c:showSerName val="0"/>
          <c:showPercent val="1"/>
          <c:showBubbleSize val="0"/>
          <c:showLeaderLines val="1"/>
        </c:dLbls>
      </c:pie3DChart>
      <c:spPr>
        <a:solidFill>
          <a:schemeClr val="bg1"/>
        </a:solidFill>
        <a:ln>
          <a:noFill/>
        </a:ln>
        <a:effectLst/>
      </c:spPr>
    </c:plotArea>
    <c:plotVisOnly val="1"/>
    <c:dispBlanksAs val="gap"/>
    <c:showDLblsOverMax val="0"/>
  </c:chart>
  <c:spPr>
    <a:solidFill>
      <a:schemeClr val="bg1"/>
    </a:solidFill>
    <a:ln w="9525" cap="flat" cmpd="sng" algn="ctr">
      <a:solidFill>
        <a:schemeClr val="dk1">
          <a:lumMod val="25000"/>
          <a:lumOff val="75000"/>
        </a:schemeClr>
      </a:solidFill>
      <a:round/>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sz="1800" b="1" i="0" baseline="0" dirty="0" err="1" smtClean="0">
                <a:effectLst/>
              </a:rPr>
              <a:t>Anteile</a:t>
            </a:r>
            <a:r>
              <a:rPr lang="en-US" sz="1800" b="1" i="0" baseline="0" dirty="0" smtClean="0">
                <a:effectLst/>
              </a:rPr>
              <a:t> der </a:t>
            </a:r>
            <a:r>
              <a:rPr lang="en-US" sz="1800" b="1" i="0" baseline="0" dirty="0" err="1" smtClean="0">
                <a:effectLst/>
              </a:rPr>
              <a:t>Dachflächenbelegung</a:t>
            </a:r>
            <a:r>
              <a:rPr lang="en-US" sz="1800" b="1" i="0" baseline="0" dirty="0" smtClean="0">
                <a:effectLst/>
              </a:rPr>
              <a:t> von </a:t>
            </a:r>
            <a:r>
              <a:rPr lang="en-US" sz="1800" b="1" i="0" baseline="0" dirty="0" err="1" smtClean="0">
                <a:effectLst/>
              </a:rPr>
              <a:t>Solardynamik</a:t>
            </a:r>
            <a:endParaRPr lang="de-DE" dirty="0" smtClean="0">
              <a:effectLst/>
            </a:endParaRPr>
          </a:p>
          <a:p>
            <a:pPr>
              <a:defRPr/>
            </a:pPr>
            <a:r>
              <a:rPr lang="en-US" sz="1000" baseline="0" dirty="0" smtClean="0"/>
              <a:t>(</a:t>
            </a:r>
            <a:r>
              <a:rPr lang="en-US" sz="1000" baseline="0" dirty="0" err="1"/>
              <a:t>prognostiziert</a:t>
            </a:r>
            <a:r>
              <a:rPr lang="en-US" sz="1000" baseline="0" dirty="0"/>
              <a:t> von 2014-2024)</a:t>
            </a:r>
            <a:endParaRPr lang="en-US" sz="1000" dirty="0"/>
          </a:p>
        </c:rich>
      </c:tx>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de-DE"/>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Tabelle1!$B$1</c:f>
              <c:strCache>
                <c:ptCount val="1"/>
                <c:pt idx="0">
                  <c:v>Dachflächenbelegung</c:v>
                </c:pt>
              </c:strCache>
            </c:strRef>
          </c:tx>
          <c:dPt>
            <c:idx val="0"/>
            <c:bubble3D val="0"/>
            <c:spPr>
              <a:solidFill>
                <a:schemeClr val="accent1"/>
              </a:solidFill>
              <a:ln>
                <a:noFill/>
              </a:ln>
              <a:effectLst>
                <a:outerShdw blurRad="254000" sx="102000" sy="102000" algn="ctr" rotWithShape="0">
                  <a:prstClr val="black">
                    <a:alpha val="20000"/>
                  </a:prstClr>
                </a:outerShdw>
              </a:effectLst>
              <a:sp3d/>
            </c:spPr>
          </c:dPt>
          <c:dPt>
            <c:idx val="1"/>
            <c:bubble3D val="0"/>
            <c:spPr>
              <a:solidFill>
                <a:schemeClr val="accent2"/>
              </a:solidFill>
              <a:ln>
                <a:noFill/>
              </a:ln>
              <a:effectLst>
                <a:outerShdw blurRad="254000" sx="102000" sy="102000" algn="ctr" rotWithShape="0">
                  <a:prstClr val="black">
                    <a:alpha val="20000"/>
                  </a:prstClr>
                </a:outerShdw>
              </a:effectLst>
              <a:sp3d/>
            </c:spPr>
          </c:dPt>
          <c:dPt>
            <c:idx val="2"/>
            <c:bubble3D val="0"/>
            <c:spPr>
              <a:solidFill>
                <a:schemeClr val="accent3"/>
              </a:solidFill>
              <a:ln>
                <a:noFill/>
              </a:ln>
              <a:effectLst>
                <a:outerShdw blurRad="254000" sx="102000" sy="102000" algn="ctr" rotWithShape="0">
                  <a:prstClr val="black">
                    <a:alpha val="20000"/>
                  </a:prstClr>
                </a:outerShdw>
              </a:effectLst>
              <a:sp3d/>
            </c:spPr>
          </c:dPt>
          <c:dPt>
            <c:idx val="3"/>
            <c:bubble3D val="0"/>
            <c:spPr>
              <a:solidFill>
                <a:schemeClr val="accent4"/>
              </a:solidFill>
              <a:ln>
                <a:noFill/>
              </a:ln>
              <a:effectLst>
                <a:outerShdw blurRad="254000" sx="102000" sy="102000" algn="ctr" rotWithShape="0">
                  <a:prstClr val="black">
                    <a:alpha val="20000"/>
                  </a:prstClr>
                </a:outerShdw>
              </a:effectLst>
              <a:sp3d/>
            </c:spPr>
          </c:dPt>
          <c:dLbls>
            <c:dLbl>
              <c:idx val="0"/>
              <c:layout/>
              <c:tx>
                <c:rich>
                  <a:bodyPr/>
                  <a:lstStyle/>
                  <a:p>
                    <a:r>
                      <a:rPr lang="en-US" dirty="0" smtClean="0"/>
                      <a:t>0,34%</a:t>
                    </a:r>
                    <a:endParaRPr lang="en-US" dirty="0"/>
                  </a:p>
                </c:rich>
              </c:tx>
              <c:dLblPos val="ctr"/>
              <c:showLegendKey val="0"/>
              <c:showVal val="0"/>
              <c:showCatName val="0"/>
              <c:showSerName val="0"/>
              <c:showPercent val="1"/>
              <c:showBubbleSize val="0"/>
              <c:extLst>
                <c:ext xmlns:c15="http://schemas.microsoft.com/office/drawing/2012/chart" uri="{CE6537A1-D6FC-4f65-9D91-7224C49458BB}">
                  <c15:layout/>
                </c:ext>
              </c:extLst>
            </c:dLbl>
            <c:dLbl>
              <c:idx val="1"/>
              <c:layout/>
              <c:tx>
                <c:rich>
                  <a:bodyPr/>
                  <a:lstStyle/>
                  <a:p>
                    <a:r>
                      <a:rPr lang="en-US" dirty="0" smtClean="0"/>
                      <a:t>0,64%</a:t>
                    </a:r>
                    <a:endParaRPr lang="en-US" dirty="0"/>
                  </a:p>
                </c:rich>
              </c:tx>
              <c:dLblPos val="ctr"/>
              <c:showLegendKey val="0"/>
              <c:showVal val="0"/>
              <c:showCatName val="0"/>
              <c:showSerName val="0"/>
              <c:showPercent val="1"/>
              <c:showBubbleSize val="0"/>
              <c:extLst>
                <c:ext xmlns:c15="http://schemas.microsoft.com/office/drawing/2012/chart" uri="{CE6537A1-D6FC-4f65-9D91-7224C49458BB}">
                  <c15:layout/>
                </c:ext>
              </c:extLst>
            </c:dLbl>
            <c:dLbl>
              <c:idx val="2"/>
              <c:layout/>
              <c:tx>
                <c:rich>
                  <a:bodyPr/>
                  <a:lstStyle/>
                  <a:p>
                    <a:r>
                      <a:rPr lang="en-US" dirty="0" smtClean="0"/>
                      <a:t>0,22%</a:t>
                    </a:r>
                    <a:endParaRPr lang="en-US" dirty="0"/>
                  </a:p>
                </c:rich>
              </c:tx>
              <c:dLblPos val="ctr"/>
              <c:showLegendKey val="0"/>
              <c:showVal val="0"/>
              <c:showCatName val="0"/>
              <c:showSerName val="0"/>
              <c:showPercent val="1"/>
              <c:showBubbleSize val="0"/>
              <c:extLst>
                <c:ext xmlns:c15="http://schemas.microsoft.com/office/drawing/2012/chart" uri="{CE6537A1-D6FC-4f65-9D91-7224C49458BB}">
                  <c15:layout/>
                </c:ext>
              </c:extLst>
            </c:dLbl>
            <c:spPr>
              <a:pattFill prst="pct75">
                <a:fgClr>
                  <a:prstClr val="black">
                    <a:lumMod val="75000"/>
                    <a:lumOff val="25000"/>
                  </a:prstClr>
                </a:fgClr>
                <a:bgClr>
                  <a:prstClr val="black">
                    <a:lumMod val="65000"/>
                    <a:lumOff val="35000"/>
                  </a:prst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de-DE"/>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Tabelle1!$A$2:$A$5</c:f>
              <c:strCache>
                <c:ptCount val="3"/>
                <c:pt idx="0">
                  <c:v>Europa</c:v>
                </c:pt>
                <c:pt idx="1">
                  <c:v>USA</c:v>
                </c:pt>
                <c:pt idx="2">
                  <c:v>Rest der Welt</c:v>
                </c:pt>
              </c:strCache>
            </c:strRef>
          </c:cat>
          <c:val>
            <c:numRef>
              <c:f>Tabelle1!$B$2:$B$5</c:f>
              <c:numCache>
                <c:formatCode>General</c:formatCode>
                <c:ptCount val="4"/>
                <c:pt idx="0">
                  <c:v>4</c:v>
                </c:pt>
                <c:pt idx="1">
                  <c:v>8</c:v>
                </c:pt>
                <c:pt idx="2">
                  <c:v>1</c:v>
                </c:pt>
              </c:numCache>
            </c:numRef>
          </c:val>
        </c:ser>
        <c:dLbls>
          <c:dLblPos val="ctr"/>
          <c:showLegendKey val="0"/>
          <c:showVal val="0"/>
          <c:showCatName val="0"/>
          <c:showSerName val="0"/>
          <c:showPercent val="1"/>
          <c:showBubbleSize val="0"/>
          <c:showLeaderLines val="1"/>
        </c:dLbls>
      </c:pie3DChart>
      <c:spPr>
        <a:solidFill>
          <a:schemeClr val="bg1"/>
        </a:solidFill>
        <a:ln>
          <a:noFill/>
        </a:ln>
        <a:effectLst/>
      </c:spPr>
    </c:plotArea>
    <c:legend>
      <c:legendPos val="r"/>
      <c:legendEntry>
        <c:idx val="3"/>
        <c:delete val="1"/>
      </c:legendEntry>
      <c:layout>
        <c:manualLayout>
          <c:xMode val="edge"/>
          <c:yMode val="edge"/>
          <c:x val="0.77325008719381561"/>
          <c:y val="0.39182802823591661"/>
          <c:w val="0.16711050577038564"/>
          <c:h val="0.32609124499504311"/>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de-DE"/>
        </a:p>
      </c:txPr>
    </c:legend>
    <c:plotVisOnly val="1"/>
    <c:dispBlanksAs val="gap"/>
    <c:showDLblsOverMax val="0"/>
  </c:chart>
  <c:spPr>
    <a:solidFill>
      <a:schemeClr val="bg1"/>
    </a:solidFill>
    <a:ln w="9525" cap="flat" cmpd="sng" algn="ctr">
      <a:solidFill>
        <a:schemeClr val="dk1">
          <a:lumMod val="25000"/>
          <a:lumOff val="75000"/>
        </a:schemeClr>
      </a:solidFill>
      <a:round/>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2" name="AutoShape 1"/>
          <p:cNvSpPr>
            <a:spLocks noChangeArrowheads="1"/>
          </p:cNvSpPr>
          <p:nvPr/>
        </p:nvSpPr>
        <p:spPr bwMode="auto">
          <a:xfrm>
            <a:off x="0" y="0"/>
            <a:ext cx="7099300" cy="10234613"/>
          </a:xfrm>
          <a:prstGeom prst="roundRect">
            <a:avLst>
              <a:gd name="adj" fmla="val 19"/>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5123" name="Text Box 2"/>
          <p:cNvSpPr txBox="1">
            <a:spLocks noChangeArrowheads="1"/>
          </p:cNvSpPr>
          <p:nvPr/>
        </p:nvSpPr>
        <p:spPr bwMode="auto">
          <a:xfrm>
            <a:off x="0" y="0"/>
            <a:ext cx="3073400"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5124" name="Text Box 3"/>
          <p:cNvSpPr txBox="1">
            <a:spLocks noChangeArrowheads="1"/>
          </p:cNvSpPr>
          <p:nvPr/>
        </p:nvSpPr>
        <p:spPr bwMode="auto">
          <a:xfrm>
            <a:off x="4024313" y="0"/>
            <a:ext cx="3074987"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5125" name="Rectangle 4"/>
          <p:cNvSpPr>
            <a:spLocks noGrp="1" noRot="1" noChangeAspect="1" noChangeArrowheads="1"/>
          </p:cNvSpPr>
          <p:nvPr>
            <p:ph type="sldImg"/>
          </p:nvPr>
        </p:nvSpPr>
        <p:spPr bwMode="auto">
          <a:xfrm>
            <a:off x="992188" y="768350"/>
            <a:ext cx="5116512" cy="3836988"/>
          </a:xfrm>
          <a:prstGeom prst="rect">
            <a:avLst/>
          </a:prstGeom>
          <a:noFill/>
          <a:ln w="936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Rectangle 5"/>
          <p:cNvSpPr>
            <a:spLocks noGrp="1" noChangeArrowheads="1"/>
          </p:cNvSpPr>
          <p:nvPr>
            <p:ph type="body"/>
          </p:nvPr>
        </p:nvSpPr>
        <p:spPr bwMode="auto">
          <a:xfrm>
            <a:off x="711200" y="4862513"/>
            <a:ext cx="5676900" cy="4603750"/>
          </a:xfrm>
          <a:prstGeom prst="rect">
            <a:avLst/>
          </a:prstGeom>
          <a:noFill/>
          <a:ln>
            <a:noFill/>
          </a:ln>
          <a:effectLst/>
          <a:extLst/>
        </p:spPr>
        <p:txBody>
          <a:bodyPr vert="horz" wrap="square" lIns="95072" tIns="47536" rIns="95072" bIns="47536" numCol="1" anchor="t" anchorCtr="0" compatLnSpc="1">
            <a:prstTxWarp prst="textNoShape">
              <a:avLst/>
            </a:prstTxWarp>
          </a:bodyPr>
          <a:lstStyle/>
          <a:p>
            <a:pPr lvl="0"/>
            <a:endParaRPr lang="de-DE" noProof="0"/>
          </a:p>
        </p:txBody>
      </p:sp>
      <p:sp>
        <p:nvSpPr>
          <p:cNvPr id="5127" name="Text Box 6"/>
          <p:cNvSpPr txBox="1">
            <a:spLocks noChangeArrowheads="1"/>
          </p:cNvSpPr>
          <p:nvPr/>
        </p:nvSpPr>
        <p:spPr bwMode="auto">
          <a:xfrm>
            <a:off x="0" y="9725025"/>
            <a:ext cx="3073400"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3" name="Rectangle 7"/>
          <p:cNvSpPr>
            <a:spLocks noGrp="1" noChangeArrowheads="1"/>
          </p:cNvSpPr>
          <p:nvPr>
            <p:ph type="sldNum"/>
          </p:nvPr>
        </p:nvSpPr>
        <p:spPr bwMode="auto">
          <a:xfrm>
            <a:off x="4024313" y="9725025"/>
            <a:ext cx="3073400" cy="508000"/>
          </a:xfrm>
          <a:prstGeom prst="rect">
            <a:avLst/>
          </a:prstGeom>
          <a:noFill/>
          <a:ln>
            <a:noFill/>
          </a:ln>
          <a:effectLst/>
          <a:extLst/>
        </p:spPr>
        <p:txBody>
          <a:bodyPr vert="horz" wrap="square" lIns="95072" tIns="47536" rIns="95072" bIns="47536" numCol="1" anchor="b" anchorCtr="0" compatLnSpc="1">
            <a:prstTxWarp prst="textNoShape">
              <a:avLst/>
            </a:prstTxWarp>
          </a:bodyPr>
          <a:lstStyle>
            <a:lvl1pPr algn="r" defTabSz="460375" eaLnBrk="1" hangingPunct="1">
              <a:buSzPct val="90000"/>
              <a:tabLst>
                <a:tab pos="936625" algn="l"/>
                <a:tab pos="1871663" algn="l"/>
                <a:tab pos="2808288" algn="l"/>
                <a:tab pos="3743325" algn="l"/>
                <a:tab pos="4679950" algn="l"/>
                <a:tab pos="5616575" algn="l"/>
                <a:tab pos="6551613" algn="l"/>
                <a:tab pos="7488238" algn="l"/>
                <a:tab pos="8423275" algn="l"/>
                <a:tab pos="9359900" algn="l"/>
                <a:tab pos="10296525" algn="l"/>
              </a:tabLst>
              <a:defRPr sz="1200" b="0">
                <a:solidFill>
                  <a:srgbClr val="000000"/>
                </a:solidFill>
                <a:latin typeface="Arial" pitchFamily="34" charset="0"/>
              </a:defRPr>
            </a:lvl1pPr>
          </a:lstStyle>
          <a:p>
            <a:fld id="{562D727F-EA5D-43E3-8588-6AD08CD106F8}" type="slidenum">
              <a:rPr lang="de-DE" altLang="de-DE"/>
              <a:pPr/>
              <a:t>‹Nr.›</a:t>
            </a:fld>
            <a:endParaRPr lang="de-DE" altLang="de-DE"/>
          </a:p>
        </p:txBody>
      </p:sp>
    </p:spTree>
    <p:extLst>
      <p:ext uri="{BB962C8B-B14F-4D97-AF65-F5344CB8AC3E}">
        <p14:creationId xmlns:p14="http://schemas.microsoft.com/office/powerpoint/2010/main" val="3230459254"/>
      </p:ext>
    </p:extLst>
  </p:cSld>
  <p:clrMap bg1="lt1" tx1="dk1" bg2="lt2" tx2="dk2" accent1="accent1" accent2="accent2" accent3="accent3" accent4="accent4" accent5="accent5" accent6="accent6" hlink="hlink" folHlink="folHlink"/>
  <p:notesStyle>
    <a:lvl1pPr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charset="0"/>
        <a:ea typeface="MS PGothic" pitchFamily="34" charset="-128"/>
        <a:cs typeface="MS PGothic" charset="0"/>
      </a:defRPr>
    </a:lvl1pPr>
    <a:lvl2pPr marL="742950" indent="-28575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charset="0"/>
        <a:ea typeface="MS PGothic" pitchFamily="34" charset="-128"/>
        <a:cs typeface="MS PGothic" charset="0"/>
      </a:defRPr>
    </a:lvl2pPr>
    <a:lvl3pPr marL="11430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charset="0"/>
        <a:ea typeface="MS PGothic" pitchFamily="34" charset="-128"/>
        <a:cs typeface="MS PGothic" charset="0"/>
      </a:defRPr>
    </a:lvl3pPr>
    <a:lvl4pPr marL="16002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charset="0"/>
        <a:ea typeface="MS PGothic" pitchFamily="34" charset="-128"/>
        <a:cs typeface="MS PGothic" charset="0"/>
      </a:defRPr>
    </a:lvl4pPr>
    <a:lvl5pPr marL="20574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charset="0"/>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Folienbildplatzhalter 1"/>
          <p:cNvSpPr>
            <a:spLocks noGrp="1" noRot="1" noChangeAspect="1" noTextEdit="1"/>
          </p:cNvSpPr>
          <p:nvPr>
            <p:ph type="sldImg"/>
          </p:nvPr>
        </p:nvSpPr>
        <p:spPr>
          <a:ln/>
        </p:spPr>
      </p:sp>
      <p:sp>
        <p:nvSpPr>
          <p:cNvPr id="7171"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smtClean="0">
              <a:latin typeface="Times New Roman" pitchFamily="18" charset="0"/>
            </a:endParaRPr>
          </a:p>
        </p:txBody>
      </p:sp>
      <p:sp>
        <p:nvSpPr>
          <p:cNvPr id="7172" name="Foliennummernplatzhalter 3"/>
          <p:cNvSpPr>
            <a:spLocks noGrp="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9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1pPr>
            <a:lvl2pPr defTabSz="9429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2pPr>
            <a:lvl3pPr defTabSz="9429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3pPr>
            <a:lvl4pPr defTabSz="9429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4pPr>
            <a:lvl5pPr defTabSz="9429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5pPr>
            <a:lvl6pPr marL="2514600" indent="-228600" defTabSz="9429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6pPr>
            <a:lvl7pPr marL="2971800" indent="-228600" defTabSz="9429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7pPr>
            <a:lvl8pPr marL="3429000" indent="-228600" defTabSz="9429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8pPr>
            <a:lvl9pPr marL="3886200" indent="-228600" defTabSz="9429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9pPr>
          </a:lstStyle>
          <a:p>
            <a:pPr>
              <a:spcBef>
                <a:spcPct val="0"/>
              </a:spcBef>
              <a:buClrTx/>
              <a:buSzPct val="90000"/>
              <a:buFontTx/>
              <a:buNone/>
            </a:pPr>
            <a:fld id="{EF6A0331-449E-43A3-9D3A-FDC7D6577A20}" type="slidenum">
              <a:rPr lang="de-DE" altLang="de-DE">
                <a:solidFill>
                  <a:schemeClr val="tx1"/>
                </a:solidFill>
                <a:latin typeface="Arial" pitchFamily="34" charset="0"/>
              </a:rPr>
              <a:pPr>
                <a:spcBef>
                  <a:spcPct val="0"/>
                </a:spcBef>
                <a:buClrTx/>
                <a:buSzPct val="90000"/>
                <a:buFontTx/>
                <a:buNone/>
              </a:pPr>
              <a:t>1</a:t>
            </a:fld>
            <a:endParaRPr lang="de-DE" altLang="de-DE">
              <a:solidFill>
                <a:schemeClr val="tx1"/>
              </a:solidFill>
              <a:latin typeface="Arial" pitchFamily="34" charset="0"/>
            </a:endParaRPr>
          </a:p>
        </p:txBody>
      </p:sp>
    </p:spTree>
    <p:extLst>
      <p:ext uri="{BB962C8B-B14F-4D97-AF65-F5344CB8AC3E}">
        <p14:creationId xmlns:p14="http://schemas.microsoft.com/office/powerpoint/2010/main" val="213400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2</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698573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3</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2395350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4</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3360646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5</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28859910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6</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26130797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7</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36143912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8</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4083655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9</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3681606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4"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6BAD51E4-8BC1-4CBB-855D-7A0B5261439D}" type="slidenum">
              <a:rPr lang="de-DE" altLang="de-DE" sz="1200" b="0">
                <a:solidFill>
                  <a:srgbClr val="000000"/>
                </a:solidFill>
                <a:latin typeface="Arial" pitchFamily="34" charset="0"/>
              </a:rPr>
              <a:pPr/>
              <a:t>20</a:t>
            </a:fld>
            <a:endParaRPr lang="de-DE" altLang="de-DE" sz="1200" b="0">
              <a:solidFill>
                <a:srgbClr val="000000"/>
              </a:solidFill>
              <a:latin typeface="Arial" pitchFamily="34" charset="0"/>
            </a:endParaRPr>
          </a:p>
        </p:txBody>
      </p:sp>
      <p:sp>
        <p:nvSpPr>
          <p:cNvPr id="23555"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23556"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36823528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5602" name="Rectangle 7"/>
          <p:cNvSpPr txBox="1">
            <a:spLocks noGrp="1" noChangeArrowheads="1"/>
          </p:cNvSpPr>
          <p:nvPr/>
        </p:nvSpPr>
        <p:spPr bwMode="auto">
          <a:xfrm>
            <a:off x="4024313" y="9725025"/>
            <a:ext cx="30734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72" tIns="47536" rIns="95072" bIns="47536" anchor="b"/>
          <a:lstStyle>
            <a:lvl1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1pPr>
            <a:lvl2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2pPr>
            <a:lvl3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3pPr>
            <a:lvl4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4pPr>
            <a:lvl5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5pPr>
            <a:lvl6pPr marL="25146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6pPr>
            <a:lvl7pPr marL="29718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7pPr>
            <a:lvl8pPr marL="34290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8pPr>
            <a:lvl9pPr marL="38862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9pPr>
          </a:lstStyle>
          <a:p>
            <a:pPr algn="r" eaLnBrk="1" hangingPunct="1">
              <a:spcBef>
                <a:spcPct val="0"/>
              </a:spcBef>
              <a:buClrTx/>
              <a:buSzPct val="90000"/>
              <a:buFontTx/>
              <a:buNone/>
            </a:pPr>
            <a:fld id="{4FCD0775-CF9F-4336-ADB7-74AD768B1FD6}" type="slidenum">
              <a:rPr lang="de-DE" altLang="de-DE" b="0">
                <a:latin typeface="Arial" pitchFamily="34" charset="0"/>
              </a:rPr>
              <a:pPr algn="r" eaLnBrk="1" hangingPunct="1">
                <a:spcBef>
                  <a:spcPct val="0"/>
                </a:spcBef>
                <a:buClrTx/>
                <a:buSzPct val="90000"/>
                <a:buFontTx/>
                <a:buNone/>
              </a:pPr>
              <a:t>21</a:t>
            </a:fld>
            <a:endParaRPr lang="de-DE" altLang="de-DE" b="0">
              <a:latin typeface="Arial" pitchFamily="34" charset="0"/>
            </a:endParaRPr>
          </a:p>
        </p:txBody>
      </p:sp>
      <p:sp>
        <p:nvSpPr>
          <p:cNvPr id="25603" name="Text Box 1"/>
          <p:cNvSpPr>
            <a:spLocks noGrp="1" noRot="1" noChangeAspect="1" noChangeArrowheads="1" noTextEdit="1"/>
          </p:cNvSpPr>
          <p:nvPr>
            <p:ph type="sldImg"/>
          </p:nvPr>
        </p:nvSpPr>
        <p:spPr>
          <a:xfrm>
            <a:off x="992188" y="768350"/>
            <a:ext cx="5118100" cy="3838575"/>
          </a:xfrm>
          <a:solidFill>
            <a:srgbClr val="FFFFFF"/>
          </a:solidFill>
          <a:ln/>
        </p:spPr>
      </p:sp>
      <p:sp>
        <p:nvSpPr>
          <p:cNvPr id="25604" name="Text Box 2"/>
          <p:cNvSpPr>
            <a:spLocks noGrp="1" noChangeArrowheads="1"/>
          </p:cNvSpPr>
          <p:nvPr>
            <p:ph type="body" idx="1"/>
          </p:nvPr>
        </p:nvSpPr>
        <p:spPr>
          <a:xfrm>
            <a:off x="711200" y="4862513"/>
            <a:ext cx="5678488" cy="4605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598" tIns="46799" rIns="93598" bIns="46799" anchor="ctr"/>
          <a:lstStyle/>
          <a:p>
            <a:endParaRPr lang="de-DE" altLang="de-DE" smtClean="0">
              <a:latin typeface="Times New Roman" pitchFamily="18" charset="0"/>
            </a:endParaRPr>
          </a:p>
        </p:txBody>
      </p:sp>
    </p:spTree>
    <p:extLst>
      <p:ext uri="{BB962C8B-B14F-4D97-AF65-F5344CB8AC3E}">
        <p14:creationId xmlns:p14="http://schemas.microsoft.com/office/powerpoint/2010/main" val="3406559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218" name="Rectangle 7"/>
          <p:cNvSpPr txBox="1">
            <a:spLocks noGrp="1" noChangeArrowheads="1"/>
          </p:cNvSpPr>
          <p:nvPr/>
        </p:nvSpPr>
        <p:spPr bwMode="auto">
          <a:xfrm>
            <a:off x="4024313" y="9725025"/>
            <a:ext cx="30734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72" tIns="47536" rIns="95072" bIns="47536" anchor="b"/>
          <a:lstStyle>
            <a:lvl1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1pPr>
            <a:lvl2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2pPr>
            <a:lvl3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3pPr>
            <a:lvl4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4pPr>
            <a:lvl5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5pPr>
            <a:lvl6pPr marL="25146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6pPr>
            <a:lvl7pPr marL="29718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7pPr>
            <a:lvl8pPr marL="34290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8pPr>
            <a:lvl9pPr marL="38862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9pPr>
          </a:lstStyle>
          <a:p>
            <a:pPr algn="r" eaLnBrk="1" hangingPunct="1">
              <a:spcBef>
                <a:spcPct val="0"/>
              </a:spcBef>
              <a:buClrTx/>
              <a:buSzPct val="90000"/>
              <a:buFontTx/>
              <a:buNone/>
            </a:pPr>
            <a:fld id="{B8CDBD3A-F52A-46E0-AD2F-3ED11523E844}" type="slidenum">
              <a:rPr lang="de-DE" altLang="de-DE" b="0">
                <a:latin typeface="Arial" pitchFamily="34" charset="0"/>
              </a:rPr>
              <a:pPr algn="r" eaLnBrk="1" hangingPunct="1">
                <a:spcBef>
                  <a:spcPct val="0"/>
                </a:spcBef>
                <a:buClrTx/>
                <a:buSzPct val="90000"/>
                <a:buFontTx/>
                <a:buNone/>
              </a:pPr>
              <a:t>2</a:t>
            </a:fld>
            <a:endParaRPr lang="de-DE" altLang="de-DE" b="0">
              <a:latin typeface="Arial" pitchFamily="34" charset="0"/>
            </a:endParaRPr>
          </a:p>
        </p:txBody>
      </p:sp>
      <p:sp>
        <p:nvSpPr>
          <p:cNvPr id="9219" name="Text Box 1"/>
          <p:cNvSpPr>
            <a:spLocks noGrp="1" noRot="1" noChangeAspect="1" noChangeArrowheads="1" noTextEdit="1"/>
          </p:cNvSpPr>
          <p:nvPr>
            <p:ph type="sldImg"/>
          </p:nvPr>
        </p:nvSpPr>
        <p:spPr>
          <a:xfrm>
            <a:off x="992188" y="768350"/>
            <a:ext cx="5118100" cy="3838575"/>
          </a:xfrm>
          <a:solidFill>
            <a:srgbClr val="FFFFFF"/>
          </a:solidFill>
          <a:ln/>
        </p:spPr>
      </p:sp>
      <p:sp>
        <p:nvSpPr>
          <p:cNvPr id="9220" name="Text Box 2"/>
          <p:cNvSpPr>
            <a:spLocks noGrp="1" noChangeArrowheads="1"/>
          </p:cNvSpPr>
          <p:nvPr>
            <p:ph type="body" idx="1"/>
          </p:nvPr>
        </p:nvSpPr>
        <p:spPr>
          <a:xfrm>
            <a:off x="711200" y="4862513"/>
            <a:ext cx="5678488" cy="4605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598" tIns="46799" rIns="93598" bIns="46799" anchor="ctr"/>
          <a:lstStyle/>
          <a:p>
            <a:endParaRPr lang="de-DE" altLang="de-DE" smtClean="0">
              <a:latin typeface="Times New Roman" pitchFamily="18" charset="0"/>
            </a:endParaRPr>
          </a:p>
        </p:txBody>
      </p:sp>
    </p:spTree>
    <p:extLst>
      <p:ext uri="{BB962C8B-B14F-4D97-AF65-F5344CB8AC3E}">
        <p14:creationId xmlns:p14="http://schemas.microsoft.com/office/powerpoint/2010/main" val="318743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765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1pPr>
            <a:lvl2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2pPr>
            <a:lvl3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3pPr>
            <a:lvl4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4pPr>
            <a:lvl5pPr defTabSz="460375">
              <a:spcBef>
                <a:spcPct val="30000"/>
              </a:spcBef>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5pPr>
            <a:lvl6pPr marL="25146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6pPr>
            <a:lvl7pPr marL="29718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7pPr>
            <a:lvl8pPr marL="34290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8pPr>
            <a:lvl9pPr marL="3886200" indent="-228600" defTabSz="460375" eaLnBrk="0" fontAlgn="base" hangingPunct="0">
              <a:spcBef>
                <a:spcPct val="30000"/>
              </a:spcBef>
              <a:spcAft>
                <a:spcPct val="0"/>
              </a:spcAft>
              <a:buClr>
                <a:srgbClr val="000000"/>
              </a:buClr>
              <a:buSzPct val="100000"/>
              <a:buFont typeface="Times New Roman" pitchFamily="18" charset="0"/>
              <a:tabLst>
                <a:tab pos="936625" algn="l"/>
                <a:tab pos="1871663" algn="l"/>
                <a:tab pos="2808288" algn="l"/>
                <a:tab pos="3743325" algn="l"/>
                <a:tab pos="4679950" algn="l"/>
                <a:tab pos="5616575" algn="l"/>
                <a:tab pos="6551613" algn="l"/>
                <a:tab pos="7488238" algn="l"/>
                <a:tab pos="8423275" algn="l"/>
                <a:tab pos="9359900" algn="l"/>
                <a:tab pos="10296525" algn="l"/>
              </a:tabLst>
              <a:defRPr sz="1200">
                <a:solidFill>
                  <a:srgbClr val="000000"/>
                </a:solidFill>
                <a:latin typeface="Times New Roman" pitchFamily="18" charset="0"/>
                <a:ea typeface="MS PGothic" pitchFamily="34" charset="-128"/>
              </a:defRPr>
            </a:lvl9pPr>
          </a:lstStyle>
          <a:p>
            <a:pPr>
              <a:spcBef>
                <a:spcPct val="0"/>
              </a:spcBef>
              <a:buClrTx/>
              <a:buSzPct val="90000"/>
              <a:buFontTx/>
              <a:buNone/>
            </a:pPr>
            <a:fld id="{C3D2798B-AFDF-4C86-8F83-E480644BE687}" type="slidenum">
              <a:rPr lang="de-DE" altLang="de-DE">
                <a:latin typeface="Arial" pitchFamily="34" charset="0"/>
              </a:rPr>
              <a:pPr>
                <a:spcBef>
                  <a:spcPct val="0"/>
                </a:spcBef>
                <a:buClrTx/>
                <a:buSzPct val="90000"/>
                <a:buFontTx/>
                <a:buNone/>
              </a:pPr>
              <a:t>22</a:t>
            </a:fld>
            <a:endParaRPr lang="de-DE" altLang="de-DE">
              <a:latin typeface="Arial" pitchFamily="34" charset="0"/>
            </a:endParaRPr>
          </a:p>
        </p:txBody>
      </p:sp>
      <p:sp>
        <p:nvSpPr>
          <p:cNvPr id="27651" name="Text Box 1"/>
          <p:cNvSpPr>
            <a:spLocks noGrp="1" noRot="1" noChangeAspect="1" noChangeArrowheads="1" noTextEdit="1"/>
          </p:cNvSpPr>
          <p:nvPr>
            <p:ph type="sldImg"/>
          </p:nvPr>
        </p:nvSpPr>
        <p:spPr>
          <a:xfrm>
            <a:off x="992188" y="768350"/>
            <a:ext cx="5118100" cy="3838575"/>
          </a:xfrm>
          <a:solidFill>
            <a:srgbClr val="FFFFFF"/>
          </a:solidFill>
          <a:ln/>
        </p:spPr>
      </p:sp>
      <p:sp>
        <p:nvSpPr>
          <p:cNvPr id="27652" name="Text Box 2"/>
          <p:cNvSpPr>
            <a:spLocks noGrp="1" noChangeArrowheads="1"/>
          </p:cNvSpPr>
          <p:nvPr>
            <p:ph type="body" idx="1"/>
          </p:nvPr>
        </p:nvSpPr>
        <p:spPr>
          <a:xfrm>
            <a:off x="711200" y="4862513"/>
            <a:ext cx="5678488" cy="4605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598" tIns="46799" rIns="93598" bIns="46799" anchor="ctr"/>
          <a:lstStyle/>
          <a:p>
            <a:endParaRPr lang="de-DE" altLang="de-DE" smtClean="0">
              <a:latin typeface="Times New Roman" pitchFamily="18" charset="0"/>
            </a:endParaRPr>
          </a:p>
        </p:txBody>
      </p:sp>
    </p:spTree>
    <p:extLst>
      <p:ext uri="{BB962C8B-B14F-4D97-AF65-F5344CB8AC3E}">
        <p14:creationId xmlns:p14="http://schemas.microsoft.com/office/powerpoint/2010/main" val="2972385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3</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2678606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6</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910425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7</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3285902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8</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3258877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9</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3749842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0</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1242903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90" name="Rectangle 7"/>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1pPr>
            <a:lvl2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2pPr>
            <a:lvl3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3pPr>
            <a:lvl4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4pPr>
            <a:lvl5pPr defTabSz="446088">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5pPr>
            <a:lvl6pPr marL="25146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6pPr>
            <a:lvl7pPr marL="29718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7pPr>
            <a:lvl8pPr marL="34290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8pPr>
            <a:lvl9pPr marL="3886200" indent="-228600" defTabSz="446088" eaLnBrk="0" fontAlgn="base" hangingPunct="0">
              <a:spcBef>
                <a:spcPct val="0"/>
              </a:spcBef>
              <a:spcAft>
                <a:spcPct val="0"/>
              </a:spcAft>
              <a:tabLst>
                <a:tab pos="906463" algn="l"/>
                <a:tab pos="1812925" algn="l"/>
                <a:tab pos="2720975" algn="l"/>
                <a:tab pos="3627438" algn="l"/>
                <a:tab pos="4535488" algn="l"/>
                <a:tab pos="5443538" algn="l"/>
                <a:tab pos="6350000" algn="l"/>
                <a:tab pos="7258050" algn="l"/>
                <a:tab pos="8164513" algn="l"/>
                <a:tab pos="9072563" algn="l"/>
                <a:tab pos="9980613" algn="l"/>
              </a:tabLst>
              <a:defRPr sz="1600" b="1">
                <a:solidFill>
                  <a:srgbClr val="394994"/>
                </a:solidFill>
                <a:latin typeface="Arial Narrow" pitchFamily="34" charset="0"/>
                <a:ea typeface="MS PGothic" pitchFamily="34" charset="-128"/>
              </a:defRPr>
            </a:lvl9pPr>
          </a:lstStyle>
          <a:p>
            <a:fld id="{183B0E65-5BBE-488B-B506-0420CC66C524}" type="slidenum">
              <a:rPr lang="de-DE" altLang="de-DE" sz="1200" b="0">
                <a:solidFill>
                  <a:srgbClr val="000000"/>
                </a:solidFill>
                <a:latin typeface="Arial" pitchFamily="34" charset="0"/>
              </a:rPr>
              <a:pPr/>
              <a:t>11</a:t>
            </a:fld>
            <a:endParaRPr lang="de-DE" altLang="de-DE" sz="1200" b="0">
              <a:solidFill>
                <a:srgbClr val="000000"/>
              </a:solidFill>
              <a:latin typeface="Arial" pitchFamily="34" charset="0"/>
            </a:endParaRPr>
          </a:p>
        </p:txBody>
      </p:sp>
      <p:sp>
        <p:nvSpPr>
          <p:cNvPr id="12291" name="Text Box 1"/>
          <p:cNvSpPr>
            <a:spLocks noGrp="1" noRot="1" noChangeAspect="1" noChangeArrowheads="1" noTextEdit="1"/>
          </p:cNvSpPr>
          <p:nvPr>
            <p:ph type="sldImg"/>
          </p:nvPr>
        </p:nvSpPr>
        <p:spPr>
          <a:xfrm>
            <a:off x="944563" y="746125"/>
            <a:ext cx="4972050" cy="3730625"/>
          </a:xfrm>
          <a:solidFill>
            <a:srgbClr val="FFFFFF"/>
          </a:solidFill>
          <a:ln/>
        </p:spPr>
      </p:sp>
      <p:sp>
        <p:nvSpPr>
          <p:cNvPr id="12292" name="Text Box 2"/>
          <p:cNvSpPr>
            <a:spLocks noGrp="1" noChangeArrowheads="1"/>
          </p:cNvSpPr>
          <p:nvPr>
            <p:ph type="body" idx="1"/>
          </p:nvPr>
        </p:nvSpPr>
        <p:spPr>
          <a:xfrm>
            <a:off x="687388" y="4725988"/>
            <a:ext cx="5484812" cy="4475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734" tIns="45367" rIns="90734" bIns="45367" anchor="ctr"/>
          <a:lstStyle/>
          <a:p>
            <a:endParaRPr lang="de-DE" altLang="de-DE" smtClean="0">
              <a:latin typeface="Times New Roman" pitchFamily="18" charset="0"/>
            </a:endParaRPr>
          </a:p>
        </p:txBody>
      </p:sp>
    </p:spTree>
    <p:extLst>
      <p:ext uri="{BB962C8B-B14F-4D97-AF65-F5344CB8AC3E}">
        <p14:creationId xmlns:p14="http://schemas.microsoft.com/office/powerpoint/2010/main" val="2336831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Master-Untertitelformat bearbeiten</a:t>
            </a:r>
            <a:endParaRPr lang="de-DE"/>
          </a:p>
        </p:txBody>
      </p:sp>
    </p:spTree>
    <p:extLst>
      <p:ext uri="{BB962C8B-B14F-4D97-AF65-F5344CB8AC3E}">
        <p14:creationId xmlns:p14="http://schemas.microsoft.com/office/powerpoint/2010/main" val="343896701"/>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Vertikaler Textplatzhalter 2"/>
          <p:cNvSpPr>
            <a:spLocks noGrp="1"/>
          </p:cNvSpPr>
          <p:nvPr>
            <p:ph type="body" orient="vert" idx="1"/>
          </p:nvPr>
        </p:nvSpPr>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624058782"/>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910388" y="571500"/>
            <a:ext cx="2084387" cy="6219825"/>
          </a:xfrm>
        </p:spPr>
        <p:txBody>
          <a:bodyPr vert="eaVert"/>
          <a:lstStyle/>
          <a:p>
            <a:r>
              <a:rPr lang="de-DE" smtClean="0"/>
              <a:t>Mastertitelformat bearbeiten</a:t>
            </a:r>
            <a:endParaRPr lang="de-DE"/>
          </a:p>
        </p:txBody>
      </p:sp>
      <p:sp>
        <p:nvSpPr>
          <p:cNvPr id="3" name="Vertikaler Textplatzhalter 2"/>
          <p:cNvSpPr>
            <a:spLocks noGrp="1"/>
          </p:cNvSpPr>
          <p:nvPr>
            <p:ph type="body" orient="vert" idx="1"/>
          </p:nvPr>
        </p:nvSpPr>
        <p:spPr>
          <a:xfrm>
            <a:off x="655638" y="571500"/>
            <a:ext cx="6102350" cy="6219825"/>
          </a:xfrm>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21404084"/>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Mastertitelformat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Master-Untertitelformat bearbeiten</a:t>
            </a:r>
            <a:endParaRPr lang="de-DE"/>
          </a:p>
        </p:txBody>
      </p:sp>
      <p:sp>
        <p:nvSpPr>
          <p:cNvPr id="4"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5" name="Rectangle 5"/>
          <p:cNvSpPr>
            <a:spLocks noGrp="1" noChangeArrowheads="1"/>
          </p:cNvSpPr>
          <p:nvPr>
            <p:ph type="sldNum" idx="11"/>
          </p:nvPr>
        </p:nvSpPr>
        <p:spPr>
          <a:ln/>
        </p:spPr>
        <p:txBody>
          <a:bodyPr/>
          <a:lstStyle>
            <a:lvl1pPr>
              <a:defRPr/>
            </a:lvl1pPr>
          </a:lstStyle>
          <a:p>
            <a:fld id="{83DF7279-37BC-45F8-9827-A8ADC0405084}" type="slidenum">
              <a:rPr lang="de-DE" altLang="de-DE"/>
              <a:pPr/>
              <a:t>‹Nr.›</a:t>
            </a:fld>
            <a:endParaRPr lang="de-DE" altLang="de-DE"/>
          </a:p>
        </p:txBody>
      </p:sp>
    </p:spTree>
    <p:extLst>
      <p:ext uri="{BB962C8B-B14F-4D97-AF65-F5344CB8AC3E}">
        <p14:creationId xmlns:p14="http://schemas.microsoft.com/office/powerpoint/2010/main" val="2622391563"/>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5" name="Rectangle 5"/>
          <p:cNvSpPr>
            <a:spLocks noGrp="1" noChangeArrowheads="1"/>
          </p:cNvSpPr>
          <p:nvPr>
            <p:ph type="sldNum" idx="11"/>
          </p:nvPr>
        </p:nvSpPr>
        <p:spPr>
          <a:ln/>
        </p:spPr>
        <p:txBody>
          <a:bodyPr/>
          <a:lstStyle>
            <a:lvl1pPr>
              <a:defRPr/>
            </a:lvl1pPr>
          </a:lstStyle>
          <a:p>
            <a:fld id="{2E56E5D1-4445-4F3D-B80F-B33DA1FAE9C5}" type="slidenum">
              <a:rPr lang="de-DE" altLang="de-DE"/>
              <a:pPr/>
              <a:t>‹Nr.›</a:t>
            </a:fld>
            <a:endParaRPr lang="de-DE" altLang="de-DE"/>
          </a:p>
        </p:txBody>
      </p:sp>
    </p:spTree>
    <p:extLst>
      <p:ext uri="{BB962C8B-B14F-4D97-AF65-F5344CB8AC3E}">
        <p14:creationId xmlns:p14="http://schemas.microsoft.com/office/powerpoint/2010/main" val="390997177"/>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Mastertitelformat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Mastertextformat bearbeiten</a:t>
            </a:r>
          </a:p>
        </p:txBody>
      </p:sp>
      <p:sp>
        <p:nvSpPr>
          <p:cNvPr id="4"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5" name="Rectangle 5"/>
          <p:cNvSpPr>
            <a:spLocks noGrp="1" noChangeArrowheads="1"/>
          </p:cNvSpPr>
          <p:nvPr>
            <p:ph type="sldNum" idx="11"/>
          </p:nvPr>
        </p:nvSpPr>
        <p:spPr>
          <a:ln/>
        </p:spPr>
        <p:txBody>
          <a:bodyPr/>
          <a:lstStyle>
            <a:lvl1pPr>
              <a:defRPr/>
            </a:lvl1pPr>
          </a:lstStyle>
          <a:p>
            <a:fld id="{C14A67C0-B983-4096-8C50-A73BC043DAAE}" type="slidenum">
              <a:rPr lang="de-DE" altLang="de-DE"/>
              <a:pPr/>
              <a:t>‹Nr.›</a:t>
            </a:fld>
            <a:endParaRPr lang="de-DE" altLang="de-DE"/>
          </a:p>
        </p:txBody>
      </p:sp>
    </p:spTree>
    <p:extLst>
      <p:ext uri="{BB962C8B-B14F-4D97-AF65-F5344CB8AC3E}">
        <p14:creationId xmlns:p14="http://schemas.microsoft.com/office/powerpoint/2010/main" val="2205920456"/>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sz="half" idx="1"/>
          </p:nvPr>
        </p:nvSpPr>
        <p:spPr>
          <a:xfrm>
            <a:off x="457200" y="1600200"/>
            <a:ext cx="4037013" cy="4524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6613" y="1600200"/>
            <a:ext cx="4038600" cy="4524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6" name="Rectangle 5"/>
          <p:cNvSpPr>
            <a:spLocks noGrp="1" noChangeArrowheads="1"/>
          </p:cNvSpPr>
          <p:nvPr>
            <p:ph type="sldNum" idx="11"/>
          </p:nvPr>
        </p:nvSpPr>
        <p:spPr>
          <a:ln/>
        </p:spPr>
        <p:txBody>
          <a:bodyPr/>
          <a:lstStyle>
            <a:lvl1pPr>
              <a:defRPr/>
            </a:lvl1pPr>
          </a:lstStyle>
          <a:p>
            <a:fld id="{D34BCE8A-C1AC-467D-B255-68DAC016A1F2}" type="slidenum">
              <a:rPr lang="de-DE" altLang="de-DE"/>
              <a:pPr/>
              <a:t>‹Nr.›</a:t>
            </a:fld>
            <a:endParaRPr lang="de-DE" altLang="de-DE"/>
          </a:p>
        </p:txBody>
      </p:sp>
    </p:spTree>
    <p:extLst>
      <p:ext uri="{BB962C8B-B14F-4D97-AF65-F5344CB8AC3E}">
        <p14:creationId xmlns:p14="http://schemas.microsoft.com/office/powerpoint/2010/main" val="3164919187"/>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Mastertitelformat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8" name="Rectangle 5"/>
          <p:cNvSpPr>
            <a:spLocks noGrp="1" noChangeArrowheads="1"/>
          </p:cNvSpPr>
          <p:nvPr>
            <p:ph type="sldNum" idx="11"/>
          </p:nvPr>
        </p:nvSpPr>
        <p:spPr>
          <a:ln/>
        </p:spPr>
        <p:txBody>
          <a:bodyPr/>
          <a:lstStyle>
            <a:lvl1pPr>
              <a:defRPr/>
            </a:lvl1pPr>
          </a:lstStyle>
          <a:p>
            <a:fld id="{A1F585C1-3712-4391-A58C-F871D300ECA2}" type="slidenum">
              <a:rPr lang="de-DE" altLang="de-DE"/>
              <a:pPr/>
              <a:t>‹Nr.›</a:t>
            </a:fld>
            <a:endParaRPr lang="de-DE" altLang="de-DE"/>
          </a:p>
        </p:txBody>
      </p:sp>
    </p:spTree>
    <p:extLst>
      <p:ext uri="{BB962C8B-B14F-4D97-AF65-F5344CB8AC3E}">
        <p14:creationId xmlns:p14="http://schemas.microsoft.com/office/powerpoint/2010/main" val="267325412"/>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4" name="Rectangle 5"/>
          <p:cNvSpPr>
            <a:spLocks noGrp="1" noChangeArrowheads="1"/>
          </p:cNvSpPr>
          <p:nvPr>
            <p:ph type="sldNum" idx="11"/>
          </p:nvPr>
        </p:nvSpPr>
        <p:spPr>
          <a:ln/>
        </p:spPr>
        <p:txBody>
          <a:bodyPr/>
          <a:lstStyle>
            <a:lvl1pPr>
              <a:defRPr/>
            </a:lvl1pPr>
          </a:lstStyle>
          <a:p>
            <a:fld id="{E492B0D4-096D-4D17-BE1E-0C113B723952}" type="slidenum">
              <a:rPr lang="de-DE" altLang="de-DE"/>
              <a:pPr/>
              <a:t>‹Nr.›</a:t>
            </a:fld>
            <a:endParaRPr lang="de-DE" altLang="de-DE"/>
          </a:p>
        </p:txBody>
      </p:sp>
    </p:spTree>
    <p:extLst>
      <p:ext uri="{BB962C8B-B14F-4D97-AF65-F5344CB8AC3E}">
        <p14:creationId xmlns:p14="http://schemas.microsoft.com/office/powerpoint/2010/main" val="3593321956"/>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3" name="Rectangle 5"/>
          <p:cNvSpPr>
            <a:spLocks noGrp="1" noChangeArrowheads="1"/>
          </p:cNvSpPr>
          <p:nvPr>
            <p:ph type="sldNum" idx="11"/>
          </p:nvPr>
        </p:nvSpPr>
        <p:spPr>
          <a:ln/>
        </p:spPr>
        <p:txBody>
          <a:bodyPr/>
          <a:lstStyle>
            <a:lvl1pPr>
              <a:defRPr/>
            </a:lvl1pPr>
          </a:lstStyle>
          <a:p>
            <a:fld id="{B4A93C91-AF24-4592-8095-95DD5D8395F5}" type="slidenum">
              <a:rPr lang="de-DE" altLang="de-DE"/>
              <a:pPr/>
              <a:t>‹Nr.›</a:t>
            </a:fld>
            <a:endParaRPr lang="de-DE" altLang="de-DE"/>
          </a:p>
        </p:txBody>
      </p:sp>
    </p:spTree>
    <p:extLst>
      <p:ext uri="{BB962C8B-B14F-4D97-AF65-F5344CB8AC3E}">
        <p14:creationId xmlns:p14="http://schemas.microsoft.com/office/powerpoint/2010/main" val="2898478075"/>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Mastertitelformat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
        <p:nvSpPr>
          <p:cNvPr id="5"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6" name="Rectangle 5"/>
          <p:cNvSpPr>
            <a:spLocks noGrp="1" noChangeArrowheads="1"/>
          </p:cNvSpPr>
          <p:nvPr>
            <p:ph type="sldNum" idx="11"/>
          </p:nvPr>
        </p:nvSpPr>
        <p:spPr>
          <a:ln/>
        </p:spPr>
        <p:txBody>
          <a:bodyPr/>
          <a:lstStyle>
            <a:lvl1pPr>
              <a:defRPr/>
            </a:lvl1pPr>
          </a:lstStyle>
          <a:p>
            <a:fld id="{80AFF735-4676-4181-B29D-2A0D8EF9AFC2}" type="slidenum">
              <a:rPr lang="de-DE" altLang="de-DE"/>
              <a:pPr/>
              <a:t>‹Nr.›</a:t>
            </a:fld>
            <a:endParaRPr lang="de-DE" altLang="de-DE"/>
          </a:p>
        </p:txBody>
      </p:sp>
    </p:spTree>
    <p:extLst>
      <p:ext uri="{BB962C8B-B14F-4D97-AF65-F5344CB8AC3E}">
        <p14:creationId xmlns:p14="http://schemas.microsoft.com/office/powerpoint/2010/main" val="14326214"/>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idx="1"/>
          </p:nvPr>
        </p:nvSpPr>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140270699"/>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Mastertitelformat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
        <p:nvSpPr>
          <p:cNvPr id="5"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6" name="Rectangle 5"/>
          <p:cNvSpPr>
            <a:spLocks noGrp="1" noChangeArrowheads="1"/>
          </p:cNvSpPr>
          <p:nvPr>
            <p:ph type="sldNum" idx="11"/>
          </p:nvPr>
        </p:nvSpPr>
        <p:spPr>
          <a:ln/>
        </p:spPr>
        <p:txBody>
          <a:bodyPr/>
          <a:lstStyle>
            <a:lvl1pPr>
              <a:defRPr/>
            </a:lvl1pPr>
          </a:lstStyle>
          <a:p>
            <a:fld id="{34716CB0-B235-4696-B528-9F54325F1BD2}" type="slidenum">
              <a:rPr lang="de-DE" altLang="de-DE"/>
              <a:pPr/>
              <a:t>‹Nr.›</a:t>
            </a:fld>
            <a:endParaRPr lang="de-DE" altLang="de-DE"/>
          </a:p>
        </p:txBody>
      </p:sp>
    </p:spTree>
    <p:extLst>
      <p:ext uri="{BB962C8B-B14F-4D97-AF65-F5344CB8AC3E}">
        <p14:creationId xmlns:p14="http://schemas.microsoft.com/office/powerpoint/2010/main" val="2601282215"/>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Vertikaler Textplatzhalter 2"/>
          <p:cNvSpPr>
            <a:spLocks noGrp="1"/>
          </p:cNvSpPr>
          <p:nvPr>
            <p:ph type="body" orient="vert" idx="1"/>
          </p:nvPr>
        </p:nvSpPr>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5" name="Rectangle 5"/>
          <p:cNvSpPr>
            <a:spLocks noGrp="1" noChangeArrowheads="1"/>
          </p:cNvSpPr>
          <p:nvPr>
            <p:ph type="sldNum" idx="11"/>
          </p:nvPr>
        </p:nvSpPr>
        <p:spPr>
          <a:ln/>
        </p:spPr>
        <p:txBody>
          <a:bodyPr/>
          <a:lstStyle>
            <a:lvl1pPr>
              <a:defRPr/>
            </a:lvl1pPr>
          </a:lstStyle>
          <a:p>
            <a:fld id="{6C1CD225-1751-45BB-A1C6-6B2F04694A6E}" type="slidenum">
              <a:rPr lang="de-DE" altLang="de-DE"/>
              <a:pPr/>
              <a:t>‹Nr.›</a:t>
            </a:fld>
            <a:endParaRPr lang="de-DE" altLang="de-DE"/>
          </a:p>
        </p:txBody>
      </p:sp>
    </p:spTree>
    <p:extLst>
      <p:ext uri="{BB962C8B-B14F-4D97-AF65-F5344CB8AC3E}">
        <p14:creationId xmlns:p14="http://schemas.microsoft.com/office/powerpoint/2010/main" val="2022875909"/>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128588"/>
            <a:ext cx="2055813" cy="5995987"/>
          </a:xfrm>
        </p:spPr>
        <p:txBody>
          <a:bodyPr vert="eaVert"/>
          <a:lstStyle/>
          <a:p>
            <a:r>
              <a:rPr lang="de-DE" smtClean="0"/>
              <a:t>Mastertitelformat bearbeiten</a:t>
            </a:r>
            <a:endParaRPr lang="de-DE"/>
          </a:p>
        </p:txBody>
      </p:sp>
      <p:sp>
        <p:nvSpPr>
          <p:cNvPr id="3" name="Vertikaler Textplatzhalter 2"/>
          <p:cNvSpPr>
            <a:spLocks noGrp="1"/>
          </p:cNvSpPr>
          <p:nvPr>
            <p:ph type="body" orient="vert" idx="1"/>
          </p:nvPr>
        </p:nvSpPr>
        <p:spPr>
          <a:xfrm>
            <a:off x="457200" y="128588"/>
            <a:ext cx="6019800" cy="5995987"/>
          </a:xfrm>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ftr" idx="10"/>
          </p:nvPr>
        </p:nvSpPr>
        <p:spPr>
          <a:ln/>
        </p:spPr>
        <p:txBody>
          <a:bodyPr/>
          <a:lstStyle>
            <a:lvl1pPr>
              <a:defRPr/>
            </a:lvl1pPr>
          </a:lstStyle>
          <a:p>
            <a:pPr>
              <a:defRPr/>
            </a:pPr>
            <a:r>
              <a:rPr lang="de-DE"/>
              <a:t>Titel der Präsentation</a:t>
            </a:r>
          </a:p>
        </p:txBody>
      </p:sp>
      <p:sp>
        <p:nvSpPr>
          <p:cNvPr id="5" name="Rectangle 5"/>
          <p:cNvSpPr>
            <a:spLocks noGrp="1" noChangeArrowheads="1"/>
          </p:cNvSpPr>
          <p:nvPr>
            <p:ph type="sldNum" idx="11"/>
          </p:nvPr>
        </p:nvSpPr>
        <p:spPr>
          <a:ln/>
        </p:spPr>
        <p:txBody>
          <a:bodyPr/>
          <a:lstStyle>
            <a:lvl1pPr>
              <a:defRPr/>
            </a:lvl1pPr>
          </a:lstStyle>
          <a:p>
            <a:fld id="{AA3BDFCE-9D37-4C6B-A001-6D429A4E39E5}" type="slidenum">
              <a:rPr lang="de-DE" altLang="de-DE"/>
              <a:pPr/>
              <a:t>‹Nr.›</a:t>
            </a:fld>
            <a:endParaRPr lang="de-DE" altLang="de-DE"/>
          </a:p>
        </p:txBody>
      </p:sp>
    </p:spTree>
    <p:extLst>
      <p:ext uri="{BB962C8B-B14F-4D97-AF65-F5344CB8AC3E}">
        <p14:creationId xmlns:p14="http://schemas.microsoft.com/office/powerpoint/2010/main" val="564958842"/>
      </p:ext>
    </p:extLst>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1122363"/>
            <a:ext cx="6858000" cy="2387600"/>
          </a:xfrm>
        </p:spPr>
        <p:txBody>
          <a:bodyPr anchor="b"/>
          <a:lstStyle>
            <a:lvl1pPr algn="ctr">
              <a:defRPr sz="4500"/>
            </a:lvl1pPr>
          </a:lstStyle>
          <a:p>
            <a:r>
              <a:rPr lang="de-DE" smtClean="0"/>
              <a:t>Titelmasterformat durch Klicken bearbeiten</a:t>
            </a:r>
            <a:endParaRPr lang="de-DE"/>
          </a:p>
        </p:txBody>
      </p:sp>
      <p:sp>
        <p:nvSpPr>
          <p:cNvPr id="3" name="Untertitel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A8802857-9DE8-4EC9-B060-AE0D261C0D0B}" type="datetimeFigureOut">
              <a:rPr lang="de-DE" smtClean="0"/>
              <a:t>01.05.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181595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A8802857-9DE8-4EC9-B060-AE0D261C0D0B}" type="datetimeFigureOut">
              <a:rPr lang="de-DE" smtClean="0"/>
              <a:t>01.05.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37816925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39"/>
            <a:ext cx="7886700" cy="2852737"/>
          </a:xfrm>
        </p:spPr>
        <p:txBody>
          <a:bodyPr anchor="b"/>
          <a:lstStyle>
            <a:lvl1pPr>
              <a:defRPr sz="4500"/>
            </a:lvl1pPr>
          </a:lstStyle>
          <a:p>
            <a:r>
              <a:rPr lang="de-DE" smtClean="0"/>
              <a:t>Titelmasterformat durch Klicken bearbeiten</a:t>
            </a:r>
            <a:endParaRPr lang="de-DE"/>
          </a:p>
        </p:txBody>
      </p:sp>
      <p:sp>
        <p:nvSpPr>
          <p:cNvPr id="3" name="Textplatzhalt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A8802857-9DE8-4EC9-B060-AE0D261C0D0B}" type="datetimeFigureOut">
              <a:rPr lang="de-DE" smtClean="0"/>
              <a:t>01.05.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2727990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28650" y="1825625"/>
            <a:ext cx="3886200" cy="435133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29150" y="1825625"/>
            <a:ext cx="3886200" cy="435133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A8802857-9DE8-4EC9-B060-AE0D261C0D0B}" type="datetimeFigureOut">
              <a:rPr lang="de-DE" smtClean="0"/>
              <a:t>01.05.201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38845417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29841" y="365126"/>
            <a:ext cx="7886700" cy="1325563"/>
          </a:xfrm>
        </p:spPr>
        <p:txBody>
          <a:bodyPr/>
          <a:lstStyle/>
          <a:p>
            <a:r>
              <a:rPr lang="de-DE" smtClean="0"/>
              <a:t>Titelmasterformat durch Klicken bearbeiten</a:t>
            </a:r>
            <a:endParaRPr lang="de-DE"/>
          </a:p>
        </p:txBody>
      </p:sp>
      <p:sp>
        <p:nvSpPr>
          <p:cNvPr id="3" name="Textplatzhalt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smtClean="0"/>
              <a:t>Textmasterformat bearbeiten</a:t>
            </a:r>
          </a:p>
        </p:txBody>
      </p:sp>
      <p:sp>
        <p:nvSpPr>
          <p:cNvPr id="4" name="Inhaltsplatzhalter 3"/>
          <p:cNvSpPr>
            <a:spLocks noGrp="1"/>
          </p:cNvSpPr>
          <p:nvPr>
            <p:ph sz="half" idx="2"/>
          </p:nvPr>
        </p:nvSpPr>
        <p:spPr>
          <a:xfrm>
            <a:off x="629842" y="2505075"/>
            <a:ext cx="3868340" cy="36845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smtClean="0"/>
              <a:t>Textmasterformat bearbeiten</a:t>
            </a:r>
          </a:p>
        </p:txBody>
      </p:sp>
      <p:sp>
        <p:nvSpPr>
          <p:cNvPr id="6" name="Inhaltsplatzhalter 5"/>
          <p:cNvSpPr>
            <a:spLocks noGrp="1"/>
          </p:cNvSpPr>
          <p:nvPr>
            <p:ph sz="quarter" idx="4"/>
          </p:nvPr>
        </p:nvSpPr>
        <p:spPr>
          <a:xfrm>
            <a:off x="4629150" y="2505075"/>
            <a:ext cx="3887391" cy="36845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A8802857-9DE8-4EC9-B060-AE0D261C0D0B}" type="datetimeFigureOut">
              <a:rPr lang="de-DE" smtClean="0"/>
              <a:t>01.05.2016</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28422441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A8802857-9DE8-4EC9-B060-AE0D261C0D0B}" type="datetimeFigureOut">
              <a:rPr lang="de-DE" smtClean="0"/>
              <a:t>01.05.2016</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15162393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8802857-9DE8-4EC9-B060-AE0D261C0D0B}" type="datetimeFigureOut">
              <a:rPr lang="de-DE" smtClean="0"/>
              <a:t>01.05.2016</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4121983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smtClean="0"/>
              <a:t>Mastertitelformat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Mastertextformat bearbeiten</a:t>
            </a:r>
          </a:p>
        </p:txBody>
      </p:sp>
    </p:spTree>
    <p:extLst>
      <p:ext uri="{BB962C8B-B14F-4D97-AF65-F5344CB8AC3E}">
        <p14:creationId xmlns:p14="http://schemas.microsoft.com/office/powerpoint/2010/main" val="2140415839"/>
      </p:ext>
    </p:extLst>
  </p:cSld>
  <p:clrMapOvr>
    <a:masterClrMapping/>
  </p:clrMapOvr>
  <p:transition spd="slow"/>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e-DE" smtClean="0"/>
              <a:t>Titelmasterformat durch Klicken bearbeiten</a:t>
            </a:r>
            <a:endParaRPr lang="de-DE"/>
          </a:p>
        </p:txBody>
      </p:sp>
      <p:sp>
        <p:nvSpPr>
          <p:cNvPr id="3" name="Inhaltsplatzhalt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smtClean="0"/>
              <a:t>Textmasterformat bearbeiten</a:t>
            </a:r>
          </a:p>
        </p:txBody>
      </p:sp>
      <p:sp>
        <p:nvSpPr>
          <p:cNvPr id="5" name="Datumsplatzhalter 4"/>
          <p:cNvSpPr>
            <a:spLocks noGrp="1"/>
          </p:cNvSpPr>
          <p:nvPr>
            <p:ph type="dt" sz="half" idx="10"/>
          </p:nvPr>
        </p:nvSpPr>
        <p:spPr/>
        <p:txBody>
          <a:bodyPr/>
          <a:lstStyle/>
          <a:p>
            <a:fld id="{A8802857-9DE8-4EC9-B060-AE0D261C0D0B}" type="datetimeFigureOut">
              <a:rPr lang="de-DE" smtClean="0"/>
              <a:t>01.05.201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9078960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e-DE" smtClean="0"/>
              <a:t>Titelmasterformat durch Klicken bearbeiten</a:t>
            </a:r>
            <a:endParaRPr lang="de-DE"/>
          </a:p>
        </p:txBody>
      </p:sp>
      <p:sp>
        <p:nvSpPr>
          <p:cNvPr id="3" name="Bildplatzhalt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a:p>
        </p:txBody>
      </p:sp>
      <p:sp>
        <p:nvSpPr>
          <p:cNvPr id="4" name="Textplatzhalt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smtClean="0"/>
              <a:t>Textmasterformat bearbeiten</a:t>
            </a:r>
          </a:p>
        </p:txBody>
      </p:sp>
      <p:sp>
        <p:nvSpPr>
          <p:cNvPr id="5" name="Datumsplatzhalter 4"/>
          <p:cNvSpPr>
            <a:spLocks noGrp="1"/>
          </p:cNvSpPr>
          <p:nvPr>
            <p:ph type="dt" sz="half" idx="10"/>
          </p:nvPr>
        </p:nvSpPr>
        <p:spPr/>
        <p:txBody>
          <a:bodyPr/>
          <a:lstStyle/>
          <a:p>
            <a:fld id="{A8802857-9DE8-4EC9-B060-AE0D261C0D0B}" type="datetimeFigureOut">
              <a:rPr lang="de-DE" smtClean="0"/>
              <a:t>01.05.2016</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16352687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A8802857-9DE8-4EC9-B060-AE0D261C0D0B}" type="datetimeFigureOut">
              <a:rPr lang="de-DE" smtClean="0"/>
              <a:t>01.05.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40213083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43675" y="365125"/>
            <a:ext cx="1971675" cy="5811838"/>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28650" y="365125"/>
            <a:ext cx="5800725" cy="5811838"/>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A8802857-9DE8-4EC9-B060-AE0D261C0D0B}" type="datetimeFigureOut">
              <a:rPr lang="de-DE" smtClean="0"/>
              <a:t>01.05.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27DE6012-6058-4E57-95E3-D2A040E65553}" type="slidenum">
              <a:rPr lang="de-DE" smtClean="0"/>
              <a:t>‹Nr.›</a:t>
            </a:fld>
            <a:endParaRPr lang="de-DE"/>
          </a:p>
        </p:txBody>
      </p:sp>
    </p:spTree>
    <p:extLst>
      <p:ext uri="{BB962C8B-B14F-4D97-AF65-F5344CB8AC3E}">
        <p14:creationId xmlns:p14="http://schemas.microsoft.com/office/powerpoint/2010/main" val="515851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sz="half" idx="1"/>
          </p:nvPr>
        </p:nvSpPr>
        <p:spPr>
          <a:xfrm>
            <a:off x="655638" y="2220913"/>
            <a:ext cx="4092575" cy="4570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900613" y="2220913"/>
            <a:ext cx="4094162" cy="45704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01700386"/>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Mastertitelformat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24697607"/>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Tree>
    <p:extLst>
      <p:ext uri="{BB962C8B-B14F-4D97-AF65-F5344CB8AC3E}">
        <p14:creationId xmlns:p14="http://schemas.microsoft.com/office/powerpoint/2010/main" val="6733147"/>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186077"/>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Mastertitelformat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Tree>
    <p:extLst>
      <p:ext uri="{BB962C8B-B14F-4D97-AF65-F5344CB8AC3E}">
        <p14:creationId xmlns:p14="http://schemas.microsoft.com/office/powerpoint/2010/main" val="2854001411"/>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Mastertitelformat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Mastertextformat bearbeiten</a:t>
            </a:r>
          </a:p>
        </p:txBody>
      </p:sp>
    </p:spTree>
    <p:extLst>
      <p:ext uri="{BB962C8B-B14F-4D97-AF65-F5344CB8AC3E}">
        <p14:creationId xmlns:p14="http://schemas.microsoft.com/office/powerpoint/2010/main" val="1493863380"/>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4"/>
            </p:custDataLst>
            <p:extLst>
              <p:ext uri="{D42A27DB-BD31-4B8C-83A1-F6EECF244321}">
                <p14:modId xmlns:p14="http://schemas.microsoft.com/office/powerpoint/2010/main" val="2004807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4" name="think-cell Folie" r:id="rId15" imgW="306" imgH="306" progId="TCLayout.ActiveDocument.1">
                  <p:embed/>
                </p:oleObj>
              </mc:Choice>
              <mc:Fallback>
                <p:oleObj name="think-cell Folie" r:id="rId15" imgW="306" imgH="306"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6" name="Rectangle 1"/>
          <p:cNvSpPr>
            <a:spLocks noGrp="1" noChangeArrowheads="1"/>
          </p:cNvSpPr>
          <p:nvPr>
            <p:ph type="body" idx="1"/>
          </p:nvPr>
        </p:nvSpPr>
        <p:spPr bwMode="auto">
          <a:xfrm>
            <a:off x="655638" y="2220913"/>
            <a:ext cx="8339137" cy="457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360000" bIns="0" numCol="1" anchor="t" anchorCtr="0" compatLnSpc="1">
            <a:prstTxWarp prst="textNoShape">
              <a:avLst/>
            </a:prstTxWarp>
          </a:bodyPr>
          <a:lstStyle/>
          <a:p>
            <a:pPr lvl="0"/>
            <a:r>
              <a:rPr lang="en-GB" altLang="de-DE" smtClean="0"/>
              <a:t>Klicken Sie, um die Formate des Gliederungstextes zu bearbeiten</a:t>
            </a:r>
          </a:p>
          <a:p>
            <a:pPr lvl="1"/>
            <a:r>
              <a:rPr lang="en-GB" altLang="de-DE" smtClean="0"/>
              <a:t>Zweite Gliederungsebene</a:t>
            </a:r>
          </a:p>
          <a:p>
            <a:pPr lvl="2"/>
            <a:r>
              <a:rPr lang="en-GB" altLang="de-DE" smtClean="0"/>
              <a:t>Dritte Gliederungsebene</a:t>
            </a:r>
          </a:p>
          <a:p>
            <a:pPr lvl="3"/>
            <a:r>
              <a:rPr lang="en-GB" altLang="de-DE" smtClean="0"/>
              <a:t>Vierte Gliederungsebene</a:t>
            </a:r>
          </a:p>
          <a:p>
            <a:pPr lvl="4"/>
            <a:r>
              <a:rPr lang="en-GB" altLang="de-DE" smtClean="0"/>
              <a:t>Fünfte Gliederungsebene</a:t>
            </a:r>
          </a:p>
          <a:p>
            <a:pPr lvl="4"/>
            <a:r>
              <a:rPr lang="en-GB" altLang="de-DE" smtClean="0"/>
              <a:t>Sechste Gliederungsebene</a:t>
            </a:r>
          </a:p>
          <a:p>
            <a:pPr lvl="4"/>
            <a:r>
              <a:rPr lang="en-GB" altLang="de-DE" smtClean="0"/>
              <a:t>Siebente Gliederungsebene</a:t>
            </a:r>
          </a:p>
          <a:p>
            <a:pPr lvl="4"/>
            <a:r>
              <a:rPr lang="en-GB" altLang="de-DE" smtClean="0"/>
              <a:t>Achte Gliederungsebene</a:t>
            </a:r>
          </a:p>
          <a:p>
            <a:pPr lvl="4"/>
            <a:r>
              <a:rPr lang="en-GB" altLang="de-DE" smtClean="0"/>
              <a:t>Neunte Gliederungsebene</a:t>
            </a:r>
          </a:p>
        </p:txBody>
      </p:sp>
      <p:sp>
        <p:nvSpPr>
          <p:cNvPr id="1027" name="Rectangle 2"/>
          <p:cNvSpPr>
            <a:spLocks noGrp="1" noChangeArrowheads="1"/>
          </p:cNvSpPr>
          <p:nvPr>
            <p:ph type="title"/>
          </p:nvPr>
        </p:nvSpPr>
        <p:spPr bwMode="auto">
          <a:xfrm>
            <a:off x="685800" y="571500"/>
            <a:ext cx="6170613" cy="143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de-DE" smtClean="0"/>
              <a:t>Klicken Sie, um das Format des Titeltextes zu bearbeiten</a:t>
            </a:r>
          </a:p>
        </p:txBody>
      </p:sp>
      <p:sp>
        <p:nvSpPr>
          <p:cNvPr id="1028" name="Rectangle 3"/>
          <p:cNvSpPr>
            <a:spLocks noChangeArrowheads="1"/>
          </p:cNvSpPr>
          <p:nvPr/>
        </p:nvSpPr>
        <p:spPr bwMode="auto">
          <a:xfrm>
            <a:off x="914400" y="252413"/>
            <a:ext cx="39703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1029" name="Rectangle 4"/>
          <p:cNvSpPr>
            <a:spLocks noChangeArrowheads="1"/>
          </p:cNvSpPr>
          <p:nvPr/>
        </p:nvSpPr>
        <p:spPr bwMode="auto">
          <a:xfrm>
            <a:off x="0" y="252413"/>
            <a:ext cx="8413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ransition spd="slow"/>
  <p:timing>
    <p:tnLst>
      <p:par>
        <p:cTn id="1" dur="indefinite" restart="never" nodeType="tmRoot"/>
      </p:par>
    </p:tnLst>
  </p:timing>
  <p:txStyles>
    <p:titleStyle>
      <a:lvl1pPr algn="l" defTabSz="449263" rtl="0" eaLnBrk="0" fontAlgn="base" hangingPunct="0">
        <a:spcBef>
          <a:spcPct val="0"/>
        </a:spcBef>
        <a:spcAft>
          <a:spcPct val="0"/>
        </a:spcAft>
        <a:buClr>
          <a:srgbClr val="000000"/>
        </a:buClr>
        <a:buSzPct val="100000"/>
        <a:buFont typeface="Times New Roman" pitchFamily="18" charset="0"/>
        <a:defRPr sz="3000" b="1">
          <a:solidFill>
            <a:srgbClr val="394994"/>
          </a:solidFill>
          <a:latin typeface="+mj-lt"/>
          <a:ea typeface="MS PGothic" pitchFamily="34" charset="-128"/>
          <a:cs typeface="MS PGothic" charset="0"/>
        </a:defRPr>
      </a:lvl1pPr>
      <a:lvl2pPr algn="l" defTabSz="449263" rtl="0" eaLnBrk="0" fontAlgn="base" hangingPunct="0">
        <a:spcBef>
          <a:spcPct val="0"/>
        </a:spcBef>
        <a:spcAft>
          <a:spcPct val="0"/>
        </a:spcAft>
        <a:buClr>
          <a:srgbClr val="000000"/>
        </a:buClr>
        <a:buSzPct val="100000"/>
        <a:buFont typeface="Times New Roman" pitchFamily="18" charset="0"/>
        <a:defRPr sz="3000" b="1">
          <a:solidFill>
            <a:srgbClr val="394994"/>
          </a:solidFill>
          <a:latin typeface="Arial Narrow" charset="0"/>
          <a:ea typeface="MS PGothic" pitchFamily="34" charset="-128"/>
          <a:cs typeface="MS PGothic" charset="0"/>
        </a:defRPr>
      </a:lvl2pPr>
      <a:lvl3pPr algn="l" defTabSz="449263" rtl="0" eaLnBrk="0" fontAlgn="base" hangingPunct="0">
        <a:spcBef>
          <a:spcPct val="0"/>
        </a:spcBef>
        <a:spcAft>
          <a:spcPct val="0"/>
        </a:spcAft>
        <a:buClr>
          <a:srgbClr val="000000"/>
        </a:buClr>
        <a:buSzPct val="100000"/>
        <a:buFont typeface="Times New Roman" pitchFamily="18" charset="0"/>
        <a:defRPr sz="3000" b="1">
          <a:solidFill>
            <a:srgbClr val="394994"/>
          </a:solidFill>
          <a:latin typeface="Arial Narrow" charset="0"/>
          <a:ea typeface="MS PGothic" pitchFamily="34" charset="-128"/>
          <a:cs typeface="MS PGothic" charset="0"/>
        </a:defRPr>
      </a:lvl3pPr>
      <a:lvl4pPr algn="l" defTabSz="449263" rtl="0" eaLnBrk="0" fontAlgn="base" hangingPunct="0">
        <a:spcBef>
          <a:spcPct val="0"/>
        </a:spcBef>
        <a:spcAft>
          <a:spcPct val="0"/>
        </a:spcAft>
        <a:buClr>
          <a:srgbClr val="000000"/>
        </a:buClr>
        <a:buSzPct val="100000"/>
        <a:buFont typeface="Times New Roman" pitchFamily="18" charset="0"/>
        <a:defRPr sz="3000" b="1">
          <a:solidFill>
            <a:srgbClr val="394994"/>
          </a:solidFill>
          <a:latin typeface="Arial Narrow" charset="0"/>
          <a:ea typeface="MS PGothic" pitchFamily="34" charset="-128"/>
          <a:cs typeface="MS PGothic" charset="0"/>
        </a:defRPr>
      </a:lvl4pPr>
      <a:lvl5pPr algn="l" defTabSz="449263" rtl="0" eaLnBrk="0" fontAlgn="base" hangingPunct="0">
        <a:spcBef>
          <a:spcPct val="0"/>
        </a:spcBef>
        <a:spcAft>
          <a:spcPct val="0"/>
        </a:spcAft>
        <a:buClr>
          <a:srgbClr val="000000"/>
        </a:buClr>
        <a:buSzPct val="100000"/>
        <a:buFont typeface="Times New Roman" pitchFamily="18" charset="0"/>
        <a:defRPr sz="3000" b="1">
          <a:solidFill>
            <a:srgbClr val="394994"/>
          </a:solidFill>
          <a:latin typeface="Arial Narrow" charset="0"/>
          <a:ea typeface="MS PGothic" pitchFamily="34" charset="-128"/>
          <a:cs typeface="MS PGothic" charset="0"/>
        </a:defRPr>
      </a:lvl5pPr>
      <a:lvl6pPr marL="2514600" indent="-228600" algn="l" defTabSz="449263" rtl="0" eaLnBrk="0" fontAlgn="base" hangingPunct="0">
        <a:spcBef>
          <a:spcPct val="0"/>
        </a:spcBef>
        <a:spcAft>
          <a:spcPct val="0"/>
        </a:spcAft>
        <a:buClr>
          <a:srgbClr val="000000"/>
        </a:buClr>
        <a:buSzPct val="100000"/>
        <a:buFont typeface="Times New Roman" charset="0"/>
        <a:defRPr sz="3000" b="1">
          <a:solidFill>
            <a:srgbClr val="394994"/>
          </a:solidFill>
          <a:latin typeface="Arial Narrow" charset="0"/>
          <a:ea typeface="ＭＳ Ｐゴシック" charset="0"/>
        </a:defRPr>
      </a:lvl6pPr>
      <a:lvl7pPr marL="2971800" indent="-228600" algn="l" defTabSz="449263" rtl="0" eaLnBrk="0" fontAlgn="base" hangingPunct="0">
        <a:spcBef>
          <a:spcPct val="0"/>
        </a:spcBef>
        <a:spcAft>
          <a:spcPct val="0"/>
        </a:spcAft>
        <a:buClr>
          <a:srgbClr val="000000"/>
        </a:buClr>
        <a:buSzPct val="100000"/>
        <a:buFont typeface="Times New Roman" charset="0"/>
        <a:defRPr sz="3000" b="1">
          <a:solidFill>
            <a:srgbClr val="394994"/>
          </a:solidFill>
          <a:latin typeface="Arial Narrow" charset="0"/>
          <a:ea typeface="ＭＳ Ｐゴシック" charset="0"/>
        </a:defRPr>
      </a:lvl7pPr>
      <a:lvl8pPr marL="3429000" indent="-228600" algn="l" defTabSz="449263" rtl="0" eaLnBrk="0" fontAlgn="base" hangingPunct="0">
        <a:spcBef>
          <a:spcPct val="0"/>
        </a:spcBef>
        <a:spcAft>
          <a:spcPct val="0"/>
        </a:spcAft>
        <a:buClr>
          <a:srgbClr val="000000"/>
        </a:buClr>
        <a:buSzPct val="100000"/>
        <a:buFont typeface="Times New Roman" charset="0"/>
        <a:defRPr sz="3000" b="1">
          <a:solidFill>
            <a:srgbClr val="394994"/>
          </a:solidFill>
          <a:latin typeface="Arial Narrow" charset="0"/>
          <a:ea typeface="ＭＳ Ｐゴシック" charset="0"/>
        </a:defRPr>
      </a:lvl8pPr>
      <a:lvl9pPr marL="3886200" indent="-228600" algn="l" defTabSz="449263" rtl="0" eaLnBrk="0" fontAlgn="base" hangingPunct="0">
        <a:spcBef>
          <a:spcPct val="0"/>
        </a:spcBef>
        <a:spcAft>
          <a:spcPct val="0"/>
        </a:spcAft>
        <a:buClr>
          <a:srgbClr val="000000"/>
        </a:buClr>
        <a:buSzPct val="100000"/>
        <a:buFont typeface="Times New Roman" charset="0"/>
        <a:defRPr sz="3000" b="1">
          <a:solidFill>
            <a:srgbClr val="394994"/>
          </a:solidFill>
          <a:latin typeface="Arial Narrow" charset="0"/>
          <a:ea typeface="ＭＳ Ｐゴシック" charset="0"/>
        </a:defRPr>
      </a:lvl9pPr>
    </p:titleStyle>
    <p:bodyStyle>
      <a:lvl1pPr marL="342900" indent="-342900" algn="l" defTabSz="449263" rtl="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000000"/>
          </a:solidFill>
          <a:latin typeface="+mn-lt"/>
          <a:ea typeface="MS PGothic" pitchFamily="34" charset="-128"/>
          <a:cs typeface="MS PGothic" charset="0"/>
        </a:defRPr>
      </a:lvl1pPr>
      <a:lvl2pPr marL="742950" indent="-285750" algn="l" defTabSz="449263" rtl="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mn-lt"/>
          <a:ea typeface="MS PGothic" pitchFamily="34" charset="-128"/>
          <a:cs typeface="MS PGothic" charset="0"/>
        </a:defRPr>
      </a:lvl2pPr>
      <a:lvl3pPr marL="1143000" indent="-228600" algn="l" defTabSz="449263" rtl="0" eaLnBrk="0" fontAlgn="base" hangingPunct="0">
        <a:lnSpc>
          <a:spcPct val="110000"/>
        </a:lnSpc>
        <a:spcBef>
          <a:spcPct val="0"/>
        </a:spcBef>
        <a:spcAft>
          <a:spcPct val="0"/>
        </a:spcAft>
        <a:buClr>
          <a:srgbClr val="000000"/>
        </a:buClr>
        <a:buSzPct val="100000"/>
        <a:buFont typeface="Times New Roman" pitchFamily="18" charset="0"/>
        <a:buChar char="•"/>
        <a:defRPr sz="1700" i="1">
          <a:solidFill>
            <a:srgbClr val="6D777D"/>
          </a:solidFill>
          <a:latin typeface="+mn-lt"/>
          <a:ea typeface="MS PGothic" pitchFamily="34" charset="-128"/>
          <a:cs typeface="MS PGothic" charset="0"/>
        </a:defRPr>
      </a:lvl3pPr>
      <a:lvl4pPr marL="1600200" indent="-228600" algn="l" defTabSz="449263" rtl="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mn-lt"/>
          <a:ea typeface="MS PGothic" pitchFamily="34" charset="-128"/>
          <a:cs typeface="MS PGothic" charset="0"/>
        </a:defRPr>
      </a:lvl4pPr>
      <a:lvl5pPr marL="2057400" indent="-228600" algn="l" defTabSz="449263" rtl="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mn-lt"/>
          <a:ea typeface="MS PGothic" pitchFamily="34" charset="-128"/>
          <a:cs typeface="MS PGothic" charset="0"/>
        </a:defRPr>
      </a:lvl5pPr>
      <a:lvl6pPr marL="2514600" indent="-228600" algn="l" defTabSz="449263" rtl="0" eaLnBrk="0" fontAlgn="base" hangingPunct="0">
        <a:lnSpc>
          <a:spcPct val="110000"/>
        </a:lnSpc>
        <a:spcBef>
          <a:spcPct val="0"/>
        </a:spcBef>
        <a:spcAft>
          <a:spcPct val="0"/>
        </a:spcAft>
        <a:buClr>
          <a:srgbClr val="000000"/>
        </a:buClr>
        <a:buSzPct val="100000"/>
        <a:buFont typeface="Times New Roman" charset="0"/>
        <a:defRPr sz="1700">
          <a:solidFill>
            <a:srgbClr val="6D777D"/>
          </a:solidFill>
          <a:latin typeface="+mn-lt"/>
          <a:ea typeface="+mn-ea"/>
        </a:defRPr>
      </a:lvl6pPr>
      <a:lvl7pPr marL="2971800" indent="-228600" algn="l" defTabSz="449263" rtl="0" eaLnBrk="0" fontAlgn="base" hangingPunct="0">
        <a:lnSpc>
          <a:spcPct val="110000"/>
        </a:lnSpc>
        <a:spcBef>
          <a:spcPct val="0"/>
        </a:spcBef>
        <a:spcAft>
          <a:spcPct val="0"/>
        </a:spcAft>
        <a:buClr>
          <a:srgbClr val="000000"/>
        </a:buClr>
        <a:buSzPct val="100000"/>
        <a:buFont typeface="Times New Roman" charset="0"/>
        <a:defRPr sz="1700">
          <a:solidFill>
            <a:srgbClr val="6D777D"/>
          </a:solidFill>
          <a:latin typeface="+mn-lt"/>
          <a:ea typeface="+mn-ea"/>
        </a:defRPr>
      </a:lvl7pPr>
      <a:lvl8pPr marL="3429000" indent="-228600" algn="l" defTabSz="449263" rtl="0" eaLnBrk="0" fontAlgn="base" hangingPunct="0">
        <a:lnSpc>
          <a:spcPct val="110000"/>
        </a:lnSpc>
        <a:spcBef>
          <a:spcPct val="0"/>
        </a:spcBef>
        <a:spcAft>
          <a:spcPct val="0"/>
        </a:spcAft>
        <a:buClr>
          <a:srgbClr val="000000"/>
        </a:buClr>
        <a:buSzPct val="100000"/>
        <a:buFont typeface="Times New Roman" charset="0"/>
        <a:defRPr sz="1700">
          <a:solidFill>
            <a:srgbClr val="6D777D"/>
          </a:solidFill>
          <a:latin typeface="+mn-lt"/>
          <a:ea typeface="+mn-ea"/>
        </a:defRPr>
      </a:lvl8pPr>
      <a:lvl9pPr marL="3886200" indent="-228600" algn="l" defTabSz="449263" rtl="0" eaLnBrk="0" fontAlgn="base" hangingPunct="0">
        <a:lnSpc>
          <a:spcPct val="110000"/>
        </a:lnSpc>
        <a:spcBef>
          <a:spcPct val="0"/>
        </a:spcBef>
        <a:spcAft>
          <a:spcPct val="0"/>
        </a:spcAft>
        <a:buClr>
          <a:srgbClr val="000000"/>
        </a:buClr>
        <a:buSzPct val="100000"/>
        <a:buFont typeface="Times New Roman" charset="0"/>
        <a:defRPr sz="1700">
          <a:solidFill>
            <a:srgbClr val="6D777D"/>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457200" y="128588"/>
            <a:ext cx="8228013" cy="143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ctr" anchorCtr="0" compatLnSpc="1">
            <a:prstTxWarp prst="textNoShape">
              <a:avLst/>
            </a:prstTxWarp>
          </a:bodyPr>
          <a:lstStyle/>
          <a:p>
            <a:pPr lvl="0"/>
            <a:r>
              <a:rPr lang="en-GB" altLang="de-DE" smtClean="0"/>
              <a:t>Klicken Sie, um das Format des Titeltextes zu bearbeiten</a:t>
            </a:r>
          </a:p>
        </p:txBody>
      </p:sp>
      <p:sp>
        <p:nvSpPr>
          <p:cNvPr id="2051" name="Rectangle 2"/>
          <p:cNvSpPr>
            <a:spLocks noGrp="1" noChangeArrowheads="1"/>
          </p:cNvSpPr>
          <p:nvPr>
            <p:ph type="body" idx="1"/>
          </p:nvPr>
        </p:nvSpPr>
        <p:spPr bwMode="auto">
          <a:xfrm>
            <a:off x="457200" y="1600200"/>
            <a:ext cx="8228013"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bodyPr>
          <a:lstStyle/>
          <a:p>
            <a:pPr lvl="0"/>
            <a:r>
              <a:rPr lang="en-GB" altLang="de-DE" smtClean="0"/>
              <a:t>Klicken Sie, um die Formate des Gliederungstextes zu bearbeiten</a:t>
            </a:r>
          </a:p>
          <a:p>
            <a:pPr lvl="1"/>
            <a:r>
              <a:rPr lang="en-GB" altLang="de-DE" smtClean="0"/>
              <a:t>Zweite Gliederungsebene</a:t>
            </a:r>
          </a:p>
          <a:p>
            <a:pPr lvl="2"/>
            <a:r>
              <a:rPr lang="en-GB" altLang="de-DE" smtClean="0"/>
              <a:t>Dritte Gliederungsebene</a:t>
            </a:r>
          </a:p>
          <a:p>
            <a:pPr lvl="3"/>
            <a:r>
              <a:rPr lang="en-GB" altLang="de-DE" smtClean="0"/>
              <a:t>Vierte Gliederungsebene</a:t>
            </a:r>
          </a:p>
          <a:p>
            <a:pPr lvl="4"/>
            <a:r>
              <a:rPr lang="en-GB" altLang="de-DE" smtClean="0"/>
              <a:t>Fünfte Gliederungsebene</a:t>
            </a:r>
          </a:p>
          <a:p>
            <a:pPr lvl="4"/>
            <a:r>
              <a:rPr lang="en-GB" altLang="de-DE" smtClean="0"/>
              <a:t>Sechste Gliederungsebene</a:t>
            </a:r>
          </a:p>
          <a:p>
            <a:pPr lvl="4"/>
            <a:r>
              <a:rPr lang="en-GB" altLang="de-DE" smtClean="0"/>
              <a:t>Siebente Gliederungsebene</a:t>
            </a:r>
          </a:p>
          <a:p>
            <a:pPr lvl="4"/>
            <a:r>
              <a:rPr lang="en-GB" altLang="de-DE" smtClean="0"/>
              <a:t>Achte Gliederungsebene</a:t>
            </a:r>
          </a:p>
          <a:p>
            <a:pPr lvl="4"/>
            <a:r>
              <a:rPr lang="en-GB" altLang="de-DE" smtClean="0"/>
              <a:t>Neunte Gliederungsebene</a:t>
            </a:r>
          </a:p>
        </p:txBody>
      </p:sp>
      <p:sp>
        <p:nvSpPr>
          <p:cNvPr id="2052" name="Text Box 3"/>
          <p:cNvSpPr txBox="1">
            <a:spLocks noChangeArrowheads="1"/>
          </p:cNvSpPr>
          <p:nvPr/>
        </p:nvSpPr>
        <p:spPr bwMode="auto">
          <a:xfrm>
            <a:off x="457200" y="62452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2" name="Rectangle 4"/>
          <p:cNvSpPr>
            <a:spLocks noGrp="1" noChangeArrowheads="1"/>
          </p:cNvSpPr>
          <p:nvPr>
            <p:ph type="ftr"/>
          </p:nvPr>
        </p:nvSpPr>
        <p:spPr bwMode="auto">
          <a:xfrm>
            <a:off x="3124200" y="6245225"/>
            <a:ext cx="2894013" cy="474663"/>
          </a:xfrm>
          <a:prstGeom prst="rect">
            <a:avLst/>
          </a:prstGeom>
          <a:noFill/>
          <a:ln>
            <a:noFill/>
          </a:ln>
          <a:effectLst/>
          <a:extLst/>
        </p:spPr>
        <p:txBody>
          <a:bodyPr vert="horz" wrap="square" lIns="90000" tIns="46800" rIns="90000" bIns="46800" numCol="1" anchor="t" anchorCtr="0" compatLnSpc="1">
            <a:prstTxWarp prst="textNoShape">
              <a:avLst/>
            </a:prstTxWarp>
          </a:bodyPr>
          <a:lstStyle>
            <a:lvl1pPr algn="ctr" eaLnBrk="1" hangingPunct="1">
              <a:lnSpc>
                <a:spcPct val="100000"/>
              </a:lnSpc>
              <a:spcAft>
                <a:spcPct val="0"/>
              </a:spcAft>
              <a:buClrTx/>
              <a:buSzPct val="90000"/>
              <a:buFontTx/>
              <a:buNone/>
              <a:defRPr sz="1400" b="0">
                <a:solidFill>
                  <a:srgbClr val="000000"/>
                </a:solidFill>
                <a:latin typeface="Arial" charset="0"/>
              </a:defRPr>
            </a:lvl1pPr>
          </a:lstStyle>
          <a:p>
            <a:pPr>
              <a:defRPr/>
            </a:pPr>
            <a:r>
              <a:rPr lang="de-DE"/>
              <a:t>Titel der Präsentation</a:t>
            </a:r>
          </a:p>
        </p:txBody>
      </p:sp>
      <p:sp>
        <p:nvSpPr>
          <p:cNvPr id="2053" name="Rectangle 5"/>
          <p:cNvSpPr>
            <a:spLocks noGrp="1" noChangeArrowheads="1"/>
          </p:cNvSpPr>
          <p:nvPr>
            <p:ph type="sldNum"/>
          </p:nvPr>
        </p:nvSpPr>
        <p:spPr bwMode="auto">
          <a:xfrm>
            <a:off x="6553200" y="6245225"/>
            <a:ext cx="2132013" cy="474663"/>
          </a:xfrm>
          <a:prstGeom prst="rect">
            <a:avLst/>
          </a:prstGeom>
          <a:noFill/>
          <a:ln>
            <a:noFill/>
          </a:ln>
          <a:effectLst/>
          <a:extLst/>
        </p:spPr>
        <p:txBody>
          <a:bodyPr vert="horz" wrap="square" lIns="90000" tIns="46800" rIns="90000" bIns="46800" numCol="1" anchor="t" anchorCtr="0" compatLnSpc="1">
            <a:prstTxWarp prst="textNoShape">
              <a:avLst/>
            </a:prstTxWarp>
          </a:bodyPr>
          <a:lstStyle>
            <a:lvl1pPr algn="r" eaLnBrk="1" hangingPunct="1">
              <a:buSzPct val="90000"/>
              <a:defRPr sz="1400" b="0">
                <a:solidFill>
                  <a:srgbClr val="000000"/>
                </a:solidFill>
                <a:latin typeface="Arial" pitchFamily="34" charset="0"/>
              </a:defRPr>
            </a:lvl1pPr>
          </a:lstStyle>
          <a:p>
            <a:fld id="{82DFD345-5559-4C9C-B7E9-53B20BC8D0CA}" type="slidenum">
              <a:rPr lang="de-DE" altLang="de-DE"/>
              <a:pPr/>
              <a:t>‹Nr.›</a:t>
            </a:fld>
            <a:endParaRPr lang="de-DE" altLang="de-DE"/>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ransition spd="slow"/>
  <p:hf sldNum="0" hdr="0" dt="0"/>
  <p:txStyles>
    <p:titleStyle>
      <a:lvl1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mj-lt"/>
          <a:ea typeface="MS PGothic" pitchFamily="34" charset="-128"/>
          <a:cs typeface="MS PGothic" charset="0"/>
        </a:defRPr>
      </a:lvl1pPr>
      <a:lvl2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Arial" charset="0"/>
          <a:ea typeface="MS PGothic" pitchFamily="34" charset="-128"/>
          <a:cs typeface="MS PGothic" charset="0"/>
        </a:defRPr>
      </a:lvl2pPr>
      <a:lvl3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Arial" charset="0"/>
          <a:ea typeface="MS PGothic" pitchFamily="34" charset="-128"/>
          <a:cs typeface="MS PGothic" charset="0"/>
        </a:defRPr>
      </a:lvl3pPr>
      <a:lvl4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Arial" charset="0"/>
          <a:ea typeface="MS PGothic" pitchFamily="34" charset="-128"/>
          <a:cs typeface="MS PGothic" charset="0"/>
        </a:defRPr>
      </a:lvl4pPr>
      <a:lvl5pPr algn="ctr" defTabSz="449263" rtl="0" eaLnBrk="0" fontAlgn="base" hangingPunct="0">
        <a:spcBef>
          <a:spcPct val="0"/>
        </a:spcBef>
        <a:spcAft>
          <a:spcPct val="0"/>
        </a:spcAft>
        <a:buClr>
          <a:srgbClr val="000000"/>
        </a:buClr>
        <a:buSzPct val="100000"/>
        <a:buFont typeface="Times New Roman" pitchFamily="18" charset="0"/>
        <a:defRPr sz="4400">
          <a:solidFill>
            <a:srgbClr val="000000"/>
          </a:solidFill>
          <a:latin typeface="Arial" charset="0"/>
          <a:ea typeface="MS PGothic" pitchFamily="34" charset="-128"/>
          <a:cs typeface="MS PGothic" charset="0"/>
        </a:defRPr>
      </a:lvl5pPr>
      <a:lvl6pPr marL="2514600" indent="-228600" algn="ctr" defTabSz="449263" rtl="0" eaLnBrk="0" fontAlgn="base" hangingPunct="0">
        <a:spcBef>
          <a:spcPct val="0"/>
        </a:spcBef>
        <a:spcAft>
          <a:spcPct val="0"/>
        </a:spcAft>
        <a:buClr>
          <a:srgbClr val="000000"/>
        </a:buClr>
        <a:buSzPct val="100000"/>
        <a:buFont typeface="Times New Roman" charset="0"/>
        <a:defRPr sz="4400">
          <a:solidFill>
            <a:srgbClr val="000000"/>
          </a:solidFill>
          <a:latin typeface="Arial" charset="0"/>
          <a:ea typeface="ＭＳ Ｐゴシック" charset="0"/>
        </a:defRPr>
      </a:lvl6pPr>
      <a:lvl7pPr marL="2971800" indent="-228600" algn="ctr" defTabSz="449263" rtl="0" eaLnBrk="0" fontAlgn="base" hangingPunct="0">
        <a:spcBef>
          <a:spcPct val="0"/>
        </a:spcBef>
        <a:spcAft>
          <a:spcPct val="0"/>
        </a:spcAft>
        <a:buClr>
          <a:srgbClr val="000000"/>
        </a:buClr>
        <a:buSzPct val="100000"/>
        <a:buFont typeface="Times New Roman" charset="0"/>
        <a:defRPr sz="4400">
          <a:solidFill>
            <a:srgbClr val="000000"/>
          </a:solidFill>
          <a:latin typeface="Arial" charset="0"/>
          <a:ea typeface="ＭＳ Ｐゴシック" charset="0"/>
        </a:defRPr>
      </a:lvl7pPr>
      <a:lvl8pPr marL="3429000" indent="-228600" algn="ctr" defTabSz="449263" rtl="0" eaLnBrk="0" fontAlgn="base" hangingPunct="0">
        <a:spcBef>
          <a:spcPct val="0"/>
        </a:spcBef>
        <a:spcAft>
          <a:spcPct val="0"/>
        </a:spcAft>
        <a:buClr>
          <a:srgbClr val="000000"/>
        </a:buClr>
        <a:buSzPct val="100000"/>
        <a:buFont typeface="Times New Roman" charset="0"/>
        <a:defRPr sz="4400">
          <a:solidFill>
            <a:srgbClr val="000000"/>
          </a:solidFill>
          <a:latin typeface="Arial" charset="0"/>
          <a:ea typeface="ＭＳ Ｐゴシック" charset="0"/>
        </a:defRPr>
      </a:lvl8pPr>
      <a:lvl9pPr marL="3886200" indent="-228600" algn="ctr" defTabSz="449263" rtl="0" eaLnBrk="0" fontAlgn="base" hangingPunct="0">
        <a:spcBef>
          <a:spcPct val="0"/>
        </a:spcBef>
        <a:spcAft>
          <a:spcPct val="0"/>
        </a:spcAft>
        <a:buClr>
          <a:srgbClr val="000000"/>
        </a:buClr>
        <a:buSzPct val="100000"/>
        <a:buFont typeface="Times New Roman" charset="0"/>
        <a:defRPr sz="4400">
          <a:solidFill>
            <a:srgbClr val="000000"/>
          </a:solidFill>
          <a:latin typeface="Arial" charset="0"/>
          <a:ea typeface="ＭＳ Ｐゴシック" charset="0"/>
        </a:defRPr>
      </a:lvl9pPr>
    </p:titleStyle>
    <p:bodyStyle>
      <a:lvl1pPr marL="342900" indent="-342900" algn="l" defTabSz="449263" rtl="0" eaLnBrk="0" fontAlgn="base" hangingPunct="0">
        <a:spcBef>
          <a:spcPts val="800"/>
        </a:spcBef>
        <a:spcAft>
          <a:spcPct val="0"/>
        </a:spcAft>
        <a:buClr>
          <a:srgbClr val="000000"/>
        </a:buClr>
        <a:buSzPct val="100000"/>
        <a:buFont typeface="Times New Roman" pitchFamily="18" charset="0"/>
        <a:buChar char="•"/>
        <a:defRPr sz="3200">
          <a:solidFill>
            <a:srgbClr val="000000"/>
          </a:solidFill>
          <a:latin typeface="+mn-lt"/>
          <a:ea typeface="MS PGothic" pitchFamily="34" charset="-128"/>
          <a:cs typeface="MS PGothic" charset="0"/>
        </a:defRPr>
      </a:lvl1pPr>
      <a:lvl2pPr marL="742950" indent="-285750" algn="l" defTabSz="449263" rtl="0" eaLnBrk="0" fontAlgn="base" hangingPunct="0">
        <a:spcBef>
          <a:spcPts val="700"/>
        </a:spcBef>
        <a:spcAft>
          <a:spcPct val="0"/>
        </a:spcAft>
        <a:buClr>
          <a:srgbClr val="000000"/>
        </a:buClr>
        <a:buSzPct val="100000"/>
        <a:buFont typeface="Times New Roman" pitchFamily="18" charset="0"/>
        <a:buChar char="–"/>
        <a:defRPr sz="2800">
          <a:solidFill>
            <a:srgbClr val="000000"/>
          </a:solidFill>
          <a:latin typeface="+mn-lt"/>
          <a:ea typeface="MS PGothic" pitchFamily="34" charset="-128"/>
          <a:cs typeface="MS PGothic" charset="0"/>
        </a:defRPr>
      </a:lvl2pPr>
      <a:lvl3pPr marL="1143000" indent="-228600" algn="l" defTabSz="44926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MS PGothic" pitchFamily="34" charset="-128"/>
          <a:cs typeface="MS PGothic" charset="0"/>
        </a:defRPr>
      </a:lvl3pPr>
      <a:lvl4pPr marL="16002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MS PGothic" pitchFamily="34" charset="-128"/>
          <a:cs typeface="MS PGothic" charset="0"/>
        </a:defRPr>
      </a:lvl4pPr>
      <a:lvl5pPr marL="20574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MS PGothic" pitchFamily="34" charset="-128"/>
          <a:cs typeface="MS PGothic" charset="0"/>
        </a:defRPr>
      </a:lvl5pPr>
      <a:lvl6pPr marL="2514600" indent="-228600" algn="l" defTabSz="449263" rtl="0" eaLnBrk="0" fontAlgn="base" hangingPunct="0">
        <a:spcBef>
          <a:spcPts val="500"/>
        </a:spcBef>
        <a:spcAft>
          <a:spcPct val="0"/>
        </a:spcAft>
        <a:buClr>
          <a:srgbClr val="000000"/>
        </a:buClr>
        <a:buSzPct val="100000"/>
        <a:buFont typeface="Times New Roman" charset="0"/>
        <a:defRPr sz="2000">
          <a:solidFill>
            <a:srgbClr val="000000"/>
          </a:solidFill>
          <a:latin typeface="+mn-lt"/>
          <a:ea typeface="+mn-ea"/>
        </a:defRPr>
      </a:lvl6pPr>
      <a:lvl7pPr marL="2971800" indent="-228600" algn="l" defTabSz="449263" rtl="0" eaLnBrk="0" fontAlgn="base" hangingPunct="0">
        <a:spcBef>
          <a:spcPts val="500"/>
        </a:spcBef>
        <a:spcAft>
          <a:spcPct val="0"/>
        </a:spcAft>
        <a:buClr>
          <a:srgbClr val="000000"/>
        </a:buClr>
        <a:buSzPct val="100000"/>
        <a:buFont typeface="Times New Roman" charset="0"/>
        <a:defRPr sz="2000">
          <a:solidFill>
            <a:srgbClr val="000000"/>
          </a:solidFill>
          <a:latin typeface="+mn-lt"/>
          <a:ea typeface="+mn-ea"/>
        </a:defRPr>
      </a:lvl7pPr>
      <a:lvl8pPr marL="3429000" indent="-228600" algn="l" defTabSz="449263" rtl="0" eaLnBrk="0" fontAlgn="base" hangingPunct="0">
        <a:spcBef>
          <a:spcPts val="500"/>
        </a:spcBef>
        <a:spcAft>
          <a:spcPct val="0"/>
        </a:spcAft>
        <a:buClr>
          <a:srgbClr val="000000"/>
        </a:buClr>
        <a:buSzPct val="100000"/>
        <a:buFont typeface="Times New Roman" charset="0"/>
        <a:defRPr sz="2000">
          <a:solidFill>
            <a:srgbClr val="000000"/>
          </a:solidFill>
          <a:latin typeface="+mn-lt"/>
          <a:ea typeface="+mn-ea"/>
        </a:defRPr>
      </a:lvl8pPr>
      <a:lvl9pPr marL="3886200" indent="-228600" algn="l" defTabSz="449263" rtl="0" eaLnBrk="0" fontAlgn="base" hangingPunct="0">
        <a:spcBef>
          <a:spcPts val="500"/>
        </a:spcBef>
        <a:spcAft>
          <a:spcPct val="0"/>
        </a:spcAft>
        <a:buClr>
          <a:srgbClr val="000000"/>
        </a:buClr>
        <a:buSzPct val="100000"/>
        <a:buFont typeface="Times New Roman" charset="0"/>
        <a:defRPr sz="2000">
          <a:solidFill>
            <a:srgbClr val="000000"/>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de-DE" smtClean="0"/>
              <a:t>Titelmasterformat durch Klicken bearbeiten</a:t>
            </a:r>
            <a:endParaRPr lang="de-DE"/>
          </a:p>
        </p:txBody>
      </p:sp>
      <p:sp>
        <p:nvSpPr>
          <p:cNvPr id="3" name="Textplatzhalt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8802857-9DE8-4EC9-B060-AE0D261C0D0B}" type="datetimeFigureOut">
              <a:rPr lang="de-DE" smtClean="0"/>
              <a:t>01.05.2016</a:t>
            </a:fld>
            <a:endParaRPr lang="de-DE"/>
          </a:p>
        </p:txBody>
      </p:sp>
      <p:sp>
        <p:nvSpPr>
          <p:cNvPr id="5" name="Fußzeilenplatzhalt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7DE6012-6058-4E57-95E3-D2A040E65553}" type="slidenum">
              <a:rPr lang="de-DE" smtClean="0"/>
              <a:t>‹Nr.›</a:t>
            </a:fld>
            <a:endParaRPr lang="de-DE"/>
          </a:p>
        </p:txBody>
      </p:sp>
    </p:spTree>
    <p:extLst>
      <p:ext uri="{BB962C8B-B14F-4D97-AF65-F5344CB8AC3E}">
        <p14:creationId xmlns:p14="http://schemas.microsoft.com/office/powerpoint/2010/main" val="205339067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g"/><Relationship Id="rId5" Type="http://schemas.openxmlformats.org/officeDocument/2006/relationships/image" Target="../media/image4.jp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 Id="rId9"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image" Target="../media/image9.jpg"/><Relationship Id="rId5" Type="http://schemas.openxmlformats.org/officeDocument/2006/relationships/image" Target="../media/image8.jpeg"/><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9.jpg"/><Relationship Id="rId5" Type="http://schemas.openxmlformats.org/officeDocument/2006/relationships/image" Target="../media/image8.jpeg"/><Relationship Id="rId4" Type="http://schemas.openxmlformats.org/officeDocument/2006/relationships/image" Target="../media/image7.jpe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0.wmf"/><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 Id="rId9"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16.png"/><Relationship Id="rId2" Type="http://schemas.openxmlformats.org/officeDocument/2006/relationships/image" Target="../media/image12.jpg"/><Relationship Id="rId1" Type="http://schemas.openxmlformats.org/officeDocument/2006/relationships/slideLayout" Target="../slideLayouts/slideLayout24.xml"/><Relationship Id="rId6" Type="http://schemas.openxmlformats.org/officeDocument/2006/relationships/image" Target="../media/image15.jpg"/><Relationship Id="rId5" Type="http://schemas.openxmlformats.org/officeDocument/2006/relationships/image" Target="../media/image14.pn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9.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3.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9.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17.jpe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9"/>
          <p:cNvSpPr>
            <a:spLocks noChangeArrowheads="1"/>
          </p:cNvSpPr>
          <p:nvPr/>
        </p:nvSpPr>
        <p:spPr bwMode="auto">
          <a:xfrm>
            <a:off x="0" y="0"/>
            <a:ext cx="9144000" cy="2159000"/>
          </a:xfrm>
          <a:prstGeom prst="rect">
            <a:avLst/>
          </a:prstGeom>
          <a:gradFill rotWithShape="1">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360000" bIns="0"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6149" name="Rectangle 9"/>
          <p:cNvSpPr>
            <a:spLocks noChangeArrowheads="1"/>
          </p:cNvSpPr>
          <p:nvPr/>
        </p:nvSpPr>
        <p:spPr bwMode="auto">
          <a:xfrm>
            <a:off x="0" y="4357688"/>
            <a:ext cx="9144000" cy="2500312"/>
          </a:xfrm>
          <a:prstGeom prst="rect">
            <a:avLst/>
          </a:prstGeom>
          <a:gradFill rotWithShape="1">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360000" bIns="0"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grpSp>
        <p:nvGrpSpPr>
          <p:cNvPr id="6151" name="Group 10"/>
          <p:cNvGrpSpPr>
            <a:grpSpLocks/>
          </p:cNvGrpSpPr>
          <p:nvPr/>
        </p:nvGrpSpPr>
        <p:grpSpPr bwMode="auto">
          <a:xfrm>
            <a:off x="5435600" y="115888"/>
            <a:ext cx="3640138" cy="1296987"/>
            <a:chOff x="3429" y="73"/>
            <a:chExt cx="2293" cy="817"/>
          </a:xfrm>
        </p:grpSpPr>
        <p:grpSp>
          <p:nvGrpSpPr>
            <p:cNvPr id="6153" name="Group 4"/>
            <p:cNvGrpSpPr>
              <a:grpSpLocks noChangeAspect="1"/>
            </p:cNvGrpSpPr>
            <p:nvPr/>
          </p:nvGrpSpPr>
          <p:grpSpPr bwMode="auto">
            <a:xfrm>
              <a:off x="4513" y="73"/>
              <a:ext cx="855" cy="568"/>
              <a:chOff x="4307" y="328"/>
              <a:chExt cx="964" cy="640"/>
            </a:xfrm>
          </p:grpSpPr>
          <p:pic>
            <p:nvPicPr>
              <p:cNvPr id="615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6"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grpSp>
        <p:sp>
          <p:nvSpPr>
            <p:cNvPr id="6154"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r" eaLnBrk="1" hangingPunct="1">
                <a:lnSpc>
                  <a:spcPct val="100000"/>
                </a:lnSpc>
                <a:buClrTx/>
                <a:buSzPct val="90000"/>
                <a:buFontTx/>
                <a:buNone/>
              </a:pPr>
              <a:r>
                <a:rPr lang="de-DE" altLang="de-DE" sz="1800">
                  <a:solidFill>
                    <a:srgbClr val="777777"/>
                  </a:solidFill>
                  <a:latin typeface="Arial" pitchFamily="34" charset="0"/>
                </a:rPr>
                <a:t>Solar</a:t>
              </a:r>
              <a:r>
                <a:rPr lang="de-DE" altLang="de-DE" sz="1800" i="1">
                  <a:latin typeface="Arial" pitchFamily="34" charset="0"/>
                </a:rPr>
                <a:t>dynamik</a:t>
              </a:r>
              <a:r>
                <a:rPr lang="de-DE" altLang="de-DE" sz="1800">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152" name="Text Box 15"/>
          <p:cNvSpPr txBox="1">
            <a:spLocks noChangeArrowheads="1"/>
          </p:cNvSpPr>
          <p:nvPr/>
        </p:nvSpPr>
        <p:spPr bwMode="auto">
          <a:xfrm>
            <a:off x="1258888" y="5300663"/>
            <a:ext cx="6767512"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spcBef>
                <a:spcPct val="50000"/>
              </a:spcBef>
              <a:buClr>
                <a:srgbClr val="000000"/>
              </a:buClr>
              <a:buSzPct val="100000"/>
              <a:buFont typeface="Times New Roman" pitchFamily="18" charset="0"/>
              <a:buNone/>
            </a:pPr>
            <a:r>
              <a:rPr lang="de-DE" altLang="de-DE" sz="3200" dirty="0">
                <a:solidFill>
                  <a:schemeClr val="bg2"/>
                </a:solidFill>
              </a:rPr>
              <a:t>Regenerative Energien und Photovoltaik </a:t>
            </a:r>
            <a:br>
              <a:rPr lang="de-DE" altLang="de-DE" sz="3200" dirty="0">
                <a:solidFill>
                  <a:schemeClr val="bg2"/>
                </a:solidFill>
              </a:rPr>
            </a:br>
            <a:r>
              <a:rPr lang="de-DE" altLang="de-DE" sz="3200" dirty="0">
                <a:solidFill>
                  <a:schemeClr val="bg2"/>
                </a:solidFill>
              </a:rPr>
              <a:t>Mehrwert-  und Synergieeffekte</a:t>
            </a:r>
          </a:p>
        </p:txBody>
      </p:sp>
      <p:pic>
        <p:nvPicPr>
          <p:cNvPr id="12" name="Bild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5816" y="2202700"/>
            <a:ext cx="3088556" cy="2154989"/>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28184" y="2238166"/>
            <a:ext cx="2736304" cy="2009221"/>
          </a:xfrm>
          <a:prstGeom prst="rect">
            <a:avLst/>
          </a:prstGeom>
        </p:spPr>
      </p:pic>
      <p:pic>
        <p:nvPicPr>
          <p:cNvPr id="15" name="Grafik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5867431"/>
            <a:ext cx="1696218" cy="977021"/>
          </a:xfrm>
          <a:prstGeom prst="rect">
            <a:avLst/>
          </a:prstGeom>
        </p:spPr>
      </p:pic>
      <p:pic>
        <p:nvPicPr>
          <p:cNvPr id="16" name="Grafik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7544" y="2420888"/>
            <a:ext cx="1872208" cy="1767014"/>
          </a:xfrm>
          <a:prstGeom prst="rect">
            <a:avLst/>
          </a:prstGeom>
        </p:spPr>
      </p:pic>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30"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Dachflächen</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graphicFrame>
        <p:nvGraphicFramePr>
          <p:cNvPr id="17" name="Diagramm 16"/>
          <p:cNvGraphicFramePr/>
          <p:nvPr>
            <p:extLst>
              <p:ext uri="{D42A27DB-BD31-4B8C-83A1-F6EECF244321}">
                <p14:modId xmlns:p14="http://schemas.microsoft.com/office/powerpoint/2010/main" val="1079758362"/>
              </p:ext>
            </p:extLst>
          </p:nvPr>
        </p:nvGraphicFramePr>
        <p:xfrm>
          <a:off x="1" y="1698626"/>
          <a:ext cx="3652782" cy="3145214"/>
        </p:xfrm>
        <a:graphic>
          <a:graphicData uri="http://schemas.openxmlformats.org/drawingml/2006/chart">
            <c:chart xmlns:c="http://schemas.openxmlformats.org/drawingml/2006/chart" xmlns:r="http://schemas.openxmlformats.org/officeDocument/2006/relationships" r:id="rId8"/>
          </a:graphicData>
        </a:graphic>
      </p:graphicFrame>
      <p:sp>
        <p:nvSpPr>
          <p:cNvPr id="4" name="Pfeil nach unten 3"/>
          <p:cNvSpPr/>
          <p:nvPr/>
        </p:nvSpPr>
        <p:spPr>
          <a:xfrm rot="16200000">
            <a:off x="4050095" y="2240179"/>
            <a:ext cx="484632" cy="839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4932040" y="2398469"/>
            <a:ext cx="4788027" cy="523220"/>
          </a:xfrm>
          <a:prstGeom prst="rect">
            <a:avLst/>
          </a:prstGeom>
          <a:noFill/>
        </p:spPr>
        <p:txBody>
          <a:bodyPr wrap="square" rtlCol="0">
            <a:spAutoFit/>
          </a:bodyPr>
          <a:lstStyle/>
          <a:p>
            <a:r>
              <a:rPr lang="de-DE" sz="2800" dirty="0" smtClean="0"/>
              <a:t>1 Mrd. € Unterkonstruktion</a:t>
            </a:r>
            <a:endParaRPr lang="de-DE" sz="2800" dirty="0"/>
          </a:p>
        </p:txBody>
      </p:sp>
      <p:sp>
        <p:nvSpPr>
          <p:cNvPr id="13"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9</a:t>
            </a:r>
            <a:endParaRPr lang="es-ES" dirty="0"/>
          </a:p>
        </p:txBody>
      </p:sp>
    </p:spTree>
    <p:extLst>
      <p:ext uri="{BB962C8B-B14F-4D97-AF65-F5344CB8AC3E}">
        <p14:creationId xmlns:p14="http://schemas.microsoft.com/office/powerpoint/2010/main" val="3337393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56"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Dachflächen</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graphicFrame>
        <p:nvGraphicFramePr>
          <p:cNvPr id="17" name="Diagramm 16"/>
          <p:cNvGraphicFramePr/>
          <p:nvPr>
            <p:extLst>
              <p:ext uri="{D42A27DB-BD31-4B8C-83A1-F6EECF244321}">
                <p14:modId xmlns:p14="http://schemas.microsoft.com/office/powerpoint/2010/main" val="3100100238"/>
              </p:ext>
            </p:extLst>
          </p:nvPr>
        </p:nvGraphicFramePr>
        <p:xfrm>
          <a:off x="160902" y="2060848"/>
          <a:ext cx="3491880" cy="2782991"/>
        </p:xfrm>
        <a:graphic>
          <a:graphicData uri="http://schemas.openxmlformats.org/drawingml/2006/chart">
            <c:chart xmlns:c="http://schemas.openxmlformats.org/drawingml/2006/chart" xmlns:r="http://schemas.openxmlformats.org/officeDocument/2006/relationships" r:id="rId8"/>
          </a:graphicData>
        </a:graphic>
      </p:graphicFrame>
      <p:sp>
        <p:nvSpPr>
          <p:cNvPr id="4" name="Pfeil nach unten 3"/>
          <p:cNvSpPr/>
          <p:nvPr/>
        </p:nvSpPr>
        <p:spPr>
          <a:xfrm rot="16200000">
            <a:off x="4047391" y="2240179"/>
            <a:ext cx="484632" cy="839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4926632" y="2398504"/>
            <a:ext cx="4788027" cy="523220"/>
          </a:xfrm>
          <a:prstGeom prst="rect">
            <a:avLst/>
          </a:prstGeom>
          <a:noFill/>
        </p:spPr>
        <p:txBody>
          <a:bodyPr wrap="square" rtlCol="0">
            <a:spAutoFit/>
          </a:bodyPr>
          <a:lstStyle/>
          <a:p>
            <a:r>
              <a:rPr lang="de-DE" sz="2800" dirty="0" smtClean="0"/>
              <a:t>1 Mrd. € Unterkonstruktion</a:t>
            </a:r>
            <a:endParaRPr lang="de-DE" sz="2800" dirty="0"/>
          </a:p>
        </p:txBody>
      </p:sp>
      <p:sp>
        <p:nvSpPr>
          <p:cNvPr id="7" name="Pfeil nach unten 6"/>
          <p:cNvSpPr/>
          <p:nvPr/>
        </p:nvSpPr>
        <p:spPr>
          <a:xfrm>
            <a:off x="6247956" y="3010685"/>
            <a:ext cx="484632" cy="8833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4926632" y="3982962"/>
            <a:ext cx="4149106" cy="954107"/>
          </a:xfrm>
          <a:prstGeom prst="rect">
            <a:avLst/>
          </a:prstGeom>
          <a:noFill/>
        </p:spPr>
        <p:txBody>
          <a:bodyPr wrap="square" rtlCol="0">
            <a:spAutoFit/>
          </a:bodyPr>
          <a:lstStyle/>
          <a:p>
            <a:r>
              <a:rPr lang="de-DE" sz="2800" dirty="0" smtClean="0"/>
              <a:t>12 Mio. € Einnahmen</a:t>
            </a:r>
          </a:p>
          <a:p>
            <a:endParaRPr lang="de-DE" sz="2800" dirty="0"/>
          </a:p>
        </p:txBody>
      </p:sp>
      <p:graphicFrame>
        <p:nvGraphicFramePr>
          <p:cNvPr id="19" name="Diagramm 18"/>
          <p:cNvGraphicFramePr/>
          <p:nvPr>
            <p:extLst>
              <p:ext uri="{D42A27DB-BD31-4B8C-83A1-F6EECF244321}">
                <p14:modId xmlns:p14="http://schemas.microsoft.com/office/powerpoint/2010/main" val="3017661132"/>
              </p:ext>
            </p:extLst>
          </p:nvPr>
        </p:nvGraphicFramePr>
        <p:xfrm>
          <a:off x="1" y="1698626"/>
          <a:ext cx="3652782" cy="3145214"/>
        </p:xfrm>
        <a:graphic>
          <a:graphicData uri="http://schemas.openxmlformats.org/drawingml/2006/chart">
            <c:chart xmlns:c="http://schemas.openxmlformats.org/drawingml/2006/chart" xmlns:r="http://schemas.openxmlformats.org/officeDocument/2006/relationships" r:id="rId9"/>
          </a:graphicData>
        </a:graphic>
      </p:graphicFrame>
      <p:sp>
        <p:nvSpPr>
          <p:cNvPr id="16"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9</a:t>
            </a:r>
          </a:p>
          <a:p>
            <a:endParaRPr lang="es-ES" dirty="0"/>
          </a:p>
        </p:txBody>
      </p:sp>
    </p:spTree>
    <p:extLst>
      <p:ext uri="{BB962C8B-B14F-4D97-AF65-F5344CB8AC3E}">
        <p14:creationId xmlns:p14="http://schemas.microsoft.com/office/powerpoint/2010/main" val="3270309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76"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Carportdach</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 name="Textfeld 5"/>
          <p:cNvSpPr txBox="1"/>
          <p:nvPr/>
        </p:nvSpPr>
        <p:spPr>
          <a:xfrm>
            <a:off x="260394" y="2578101"/>
            <a:ext cx="8623212" cy="1077218"/>
          </a:xfrm>
          <a:prstGeom prst="rect">
            <a:avLst/>
          </a:prstGeom>
          <a:noFill/>
        </p:spPr>
        <p:txBody>
          <a:bodyPr wrap="square" rtlCol="0">
            <a:spAutoFit/>
          </a:bodyPr>
          <a:lstStyle/>
          <a:p>
            <a:pPr algn="ctr"/>
            <a:r>
              <a:rPr lang="de-DE" sz="3200" dirty="0" smtClean="0"/>
              <a:t>Carportsolar steigt durch die zunehmende Nachfrage an der Elektromobilität</a:t>
            </a:r>
            <a:endParaRPr lang="de-DE" sz="3200" dirty="0"/>
          </a:p>
        </p:txBody>
      </p:sp>
      <p:sp>
        <p:nvSpPr>
          <p:cNvPr id="11"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0</a:t>
            </a:r>
          </a:p>
          <a:p>
            <a:endParaRPr lang="es-ES" dirty="0"/>
          </a:p>
        </p:txBody>
      </p:sp>
    </p:spTree>
    <p:extLst>
      <p:ext uri="{BB962C8B-B14F-4D97-AF65-F5344CB8AC3E}">
        <p14:creationId xmlns:p14="http://schemas.microsoft.com/office/powerpoint/2010/main" val="258853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67"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Carportdach</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 name="Textfeld 5"/>
          <p:cNvSpPr txBox="1"/>
          <p:nvPr/>
        </p:nvSpPr>
        <p:spPr>
          <a:xfrm>
            <a:off x="341276" y="1709877"/>
            <a:ext cx="5598876" cy="2246769"/>
          </a:xfrm>
          <a:prstGeom prst="rect">
            <a:avLst/>
          </a:prstGeom>
          <a:noFill/>
        </p:spPr>
        <p:txBody>
          <a:bodyPr wrap="square" rtlCol="0">
            <a:spAutoFit/>
          </a:bodyPr>
          <a:lstStyle/>
          <a:p>
            <a:r>
              <a:rPr lang="de-DE" sz="2800" u="sng" dirty="0" smtClean="0"/>
              <a:t>Neuzulassungen von Elektroautos(</a:t>
            </a:r>
            <a:r>
              <a:rPr lang="de-DE" sz="2800" u="sng" dirty="0" err="1" smtClean="0"/>
              <a:t>Int</a:t>
            </a:r>
            <a:r>
              <a:rPr lang="de-DE" sz="2800" u="sng" dirty="0" smtClean="0"/>
              <a:t>)</a:t>
            </a:r>
          </a:p>
          <a:p>
            <a:endParaRPr lang="de-DE" sz="2800" u="sng" dirty="0"/>
          </a:p>
          <a:p>
            <a:r>
              <a:rPr lang="de-DE" sz="2800" dirty="0" smtClean="0"/>
              <a:t>2015 : 750.000</a:t>
            </a:r>
          </a:p>
          <a:p>
            <a:r>
              <a:rPr lang="de-DE" sz="2800" dirty="0" smtClean="0"/>
              <a:t>2016: 1,3 </a:t>
            </a:r>
            <a:r>
              <a:rPr lang="de-DE" sz="2800" dirty="0" err="1" smtClean="0"/>
              <a:t>Mio</a:t>
            </a:r>
            <a:endParaRPr lang="de-DE" sz="2800" dirty="0" smtClean="0"/>
          </a:p>
          <a:p>
            <a:r>
              <a:rPr lang="de-DE" sz="800" dirty="0"/>
              <a:t>(Quelle: http://de.statista.com/statistik/daten/studie/168350/umfrage/bestandsentwicklung-von-elektrofahrzeugen</a:t>
            </a:r>
            <a:r>
              <a:rPr lang="de-DE" sz="800" dirty="0" smtClean="0"/>
              <a:t>/)</a:t>
            </a:r>
          </a:p>
          <a:p>
            <a:endParaRPr lang="de-DE" sz="2000" dirty="0"/>
          </a:p>
        </p:txBody>
      </p:sp>
      <p:sp>
        <p:nvSpPr>
          <p:cNvPr id="11"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1</a:t>
            </a:r>
          </a:p>
          <a:p>
            <a:endParaRPr lang="es-ES" dirty="0"/>
          </a:p>
        </p:txBody>
      </p:sp>
    </p:spTree>
    <p:extLst>
      <p:ext uri="{BB962C8B-B14F-4D97-AF65-F5344CB8AC3E}">
        <p14:creationId xmlns:p14="http://schemas.microsoft.com/office/powerpoint/2010/main" val="2758021879"/>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97"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Carportdach</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 name="Textfeld 5"/>
          <p:cNvSpPr txBox="1"/>
          <p:nvPr/>
        </p:nvSpPr>
        <p:spPr>
          <a:xfrm>
            <a:off x="341276" y="1709877"/>
            <a:ext cx="5598876" cy="2123658"/>
          </a:xfrm>
          <a:prstGeom prst="rect">
            <a:avLst/>
          </a:prstGeom>
          <a:noFill/>
        </p:spPr>
        <p:txBody>
          <a:bodyPr wrap="square" rtlCol="0">
            <a:spAutoFit/>
          </a:bodyPr>
          <a:lstStyle/>
          <a:p>
            <a:r>
              <a:rPr lang="de-DE" sz="2800" u="sng" dirty="0" smtClean="0"/>
              <a:t>Neuzulassungen von Elektroautos</a:t>
            </a:r>
          </a:p>
          <a:p>
            <a:endParaRPr lang="de-DE" sz="2800" u="sng" dirty="0"/>
          </a:p>
          <a:p>
            <a:r>
              <a:rPr lang="de-DE" sz="2800" dirty="0" smtClean="0"/>
              <a:t>2015 : 750.000</a:t>
            </a:r>
          </a:p>
          <a:p>
            <a:r>
              <a:rPr lang="de-DE" sz="2800" dirty="0" smtClean="0"/>
              <a:t>2016: 1,3 Mio.</a:t>
            </a:r>
          </a:p>
          <a:p>
            <a:endParaRPr lang="de-DE" sz="2000" dirty="0"/>
          </a:p>
        </p:txBody>
      </p:sp>
      <p:sp>
        <p:nvSpPr>
          <p:cNvPr id="3" name="Pfeil nach rechts 2"/>
          <p:cNvSpPr/>
          <p:nvPr/>
        </p:nvSpPr>
        <p:spPr>
          <a:xfrm>
            <a:off x="341276" y="3850191"/>
            <a:ext cx="544612"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1043608" y="3811603"/>
            <a:ext cx="3686112" cy="523220"/>
          </a:xfrm>
          <a:prstGeom prst="rect">
            <a:avLst/>
          </a:prstGeom>
          <a:noFill/>
        </p:spPr>
        <p:txBody>
          <a:bodyPr wrap="square" rtlCol="0">
            <a:spAutoFit/>
          </a:bodyPr>
          <a:lstStyle/>
          <a:p>
            <a:r>
              <a:rPr lang="de-DE" sz="2800" dirty="0" smtClean="0"/>
              <a:t>Wachsende Nachfrage</a:t>
            </a:r>
            <a:endParaRPr lang="de-DE" sz="2800" dirty="0"/>
          </a:p>
        </p:txBody>
      </p:sp>
      <p:sp>
        <p:nvSpPr>
          <p:cNvPr id="13"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1</a:t>
            </a:r>
          </a:p>
          <a:p>
            <a:endParaRPr lang="es-ES" dirty="0"/>
          </a:p>
        </p:txBody>
      </p:sp>
    </p:spTree>
    <p:extLst>
      <p:ext uri="{BB962C8B-B14F-4D97-AF65-F5344CB8AC3E}">
        <p14:creationId xmlns:p14="http://schemas.microsoft.com/office/powerpoint/2010/main" val="3567100643"/>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20"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Carportdach</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 name="Textfeld 5"/>
          <p:cNvSpPr txBox="1"/>
          <p:nvPr/>
        </p:nvSpPr>
        <p:spPr>
          <a:xfrm>
            <a:off x="341276" y="1709877"/>
            <a:ext cx="5598876" cy="2123658"/>
          </a:xfrm>
          <a:prstGeom prst="rect">
            <a:avLst/>
          </a:prstGeom>
          <a:noFill/>
        </p:spPr>
        <p:txBody>
          <a:bodyPr wrap="square" rtlCol="0">
            <a:spAutoFit/>
          </a:bodyPr>
          <a:lstStyle/>
          <a:p>
            <a:r>
              <a:rPr lang="de-DE" sz="2800" u="sng" dirty="0" smtClean="0"/>
              <a:t>Neuzulassungen von Elektroautos(</a:t>
            </a:r>
            <a:r>
              <a:rPr lang="de-DE" sz="2800" u="sng" dirty="0" err="1" smtClean="0"/>
              <a:t>Int</a:t>
            </a:r>
            <a:r>
              <a:rPr lang="de-DE" sz="2800" u="sng" dirty="0" smtClean="0"/>
              <a:t>)</a:t>
            </a:r>
          </a:p>
          <a:p>
            <a:endParaRPr lang="de-DE" sz="2800" u="sng" dirty="0"/>
          </a:p>
          <a:p>
            <a:r>
              <a:rPr lang="de-DE" sz="2800" dirty="0" smtClean="0"/>
              <a:t>2015 : 750.000</a:t>
            </a:r>
          </a:p>
          <a:p>
            <a:r>
              <a:rPr lang="de-DE" sz="2800" dirty="0" smtClean="0"/>
              <a:t>2016: 1,3 Mio.</a:t>
            </a:r>
          </a:p>
          <a:p>
            <a:endParaRPr lang="de-DE" sz="2000" dirty="0"/>
          </a:p>
        </p:txBody>
      </p:sp>
      <p:sp>
        <p:nvSpPr>
          <p:cNvPr id="5" name="Textfeld 4"/>
          <p:cNvSpPr txBox="1"/>
          <p:nvPr/>
        </p:nvSpPr>
        <p:spPr>
          <a:xfrm>
            <a:off x="5949560" y="2510096"/>
            <a:ext cx="2808312" cy="523220"/>
          </a:xfrm>
          <a:prstGeom prst="rect">
            <a:avLst/>
          </a:prstGeom>
          <a:noFill/>
        </p:spPr>
        <p:txBody>
          <a:bodyPr wrap="square" rtlCol="0">
            <a:spAutoFit/>
          </a:bodyPr>
          <a:lstStyle/>
          <a:p>
            <a:r>
              <a:rPr lang="de-DE" sz="2800" dirty="0"/>
              <a:t>10 m² = 800 €</a:t>
            </a:r>
          </a:p>
        </p:txBody>
      </p:sp>
      <p:sp>
        <p:nvSpPr>
          <p:cNvPr id="11" name="Textfeld 10"/>
          <p:cNvSpPr txBox="1"/>
          <p:nvPr/>
        </p:nvSpPr>
        <p:spPr>
          <a:xfrm>
            <a:off x="5949560" y="1709877"/>
            <a:ext cx="3403193" cy="523220"/>
          </a:xfrm>
          <a:prstGeom prst="rect">
            <a:avLst/>
          </a:prstGeom>
          <a:noFill/>
        </p:spPr>
        <p:txBody>
          <a:bodyPr wrap="square" rtlCol="0">
            <a:spAutoFit/>
          </a:bodyPr>
          <a:lstStyle/>
          <a:p>
            <a:r>
              <a:rPr lang="de-DE" sz="2800" u="sng" dirty="0" smtClean="0"/>
              <a:t>Carportdachpreis</a:t>
            </a:r>
            <a:endParaRPr lang="de-DE" sz="2800" u="sng" dirty="0"/>
          </a:p>
        </p:txBody>
      </p:sp>
      <p:sp>
        <p:nvSpPr>
          <p:cNvPr id="13"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1</a:t>
            </a:r>
          </a:p>
          <a:p>
            <a:endParaRPr lang="es-ES" dirty="0"/>
          </a:p>
        </p:txBody>
      </p:sp>
    </p:spTree>
    <p:extLst>
      <p:ext uri="{BB962C8B-B14F-4D97-AF65-F5344CB8AC3E}">
        <p14:creationId xmlns:p14="http://schemas.microsoft.com/office/powerpoint/2010/main" val="1662053740"/>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4"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Carportdach</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 name="Textfeld 5"/>
          <p:cNvSpPr txBox="1"/>
          <p:nvPr/>
        </p:nvSpPr>
        <p:spPr>
          <a:xfrm>
            <a:off x="341276" y="1709877"/>
            <a:ext cx="5598876" cy="2123658"/>
          </a:xfrm>
          <a:prstGeom prst="rect">
            <a:avLst/>
          </a:prstGeom>
          <a:noFill/>
        </p:spPr>
        <p:txBody>
          <a:bodyPr wrap="square" rtlCol="0">
            <a:spAutoFit/>
          </a:bodyPr>
          <a:lstStyle/>
          <a:p>
            <a:r>
              <a:rPr lang="de-DE" sz="2800" u="sng" dirty="0" smtClean="0"/>
              <a:t>Neuzulassungen von Elektroautos(</a:t>
            </a:r>
            <a:r>
              <a:rPr lang="de-DE" sz="2800" u="sng" dirty="0" err="1" smtClean="0"/>
              <a:t>Int</a:t>
            </a:r>
            <a:r>
              <a:rPr lang="de-DE" sz="2800" u="sng" dirty="0" smtClean="0"/>
              <a:t>)</a:t>
            </a:r>
          </a:p>
          <a:p>
            <a:endParaRPr lang="de-DE" sz="2800" u="sng" dirty="0"/>
          </a:p>
          <a:p>
            <a:r>
              <a:rPr lang="de-DE" sz="2800" dirty="0" smtClean="0"/>
              <a:t>2015 : 750.000</a:t>
            </a:r>
          </a:p>
          <a:p>
            <a:r>
              <a:rPr lang="de-DE" sz="2800" dirty="0" smtClean="0"/>
              <a:t>2016: 1,3 Mio.</a:t>
            </a:r>
          </a:p>
          <a:p>
            <a:endParaRPr lang="de-DE" sz="2000" dirty="0"/>
          </a:p>
        </p:txBody>
      </p:sp>
      <p:sp>
        <p:nvSpPr>
          <p:cNvPr id="5" name="Textfeld 4"/>
          <p:cNvSpPr txBox="1"/>
          <p:nvPr/>
        </p:nvSpPr>
        <p:spPr>
          <a:xfrm>
            <a:off x="5949560" y="2510096"/>
            <a:ext cx="2808312" cy="523220"/>
          </a:xfrm>
          <a:prstGeom prst="rect">
            <a:avLst/>
          </a:prstGeom>
          <a:noFill/>
        </p:spPr>
        <p:txBody>
          <a:bodyPr wrap="square" rtlCol="0">
            <a:spAutoFit/>
          </a:bodyPr>
          <a:lstStyle/>
          <a:p>
            <a:r>
              <a:rPr lang="de-DE" sz="2800" dirty="0"/>
              <a:t>10 m² = 800 €</a:t>
            </a:r>
          </a:p>
        </p:txBody>
      </p:sp>
      <p:sp>
        <p:nvSpPr>
          <p:cNvPr id="11" name="Textfeld 10"/>
          <p:cNvSpPr txBox="1"/>
          <p:nvPr/>
        </p:nvSpPr>
        <p:spPr>
          <a:xfrm>
            <a:off x="5949560" y="1709877"/>
            <a:ext cx="3403193" cy="523220"/>
          </a:xfrm>
          <a:prstGeom prst="rect">
            <a:avLst/>
          </a:prstGeom>
          <a:noFill/>
        </p:spPr>
        <p:txBody>
          <a:bodyPr wrap="square" rtlCol="0">
            <a:spAutoFit/>
          </a:bodyPr>
          <a:lstStyle/>
          <a:p>
            <a:r>
              <a:rPr lang="de-DE" sz="2800" u="sng" dirty="0" smtClean="0"/>
              <a:t>Carportdachpreis</a:t>
            </a:r>
            <a:endParaRPr lang="de-DE" sz="2800" u="sng" dirty="0"/>
          </a:p>
        </p:txBody>
      </p:sp>
      <p:sp>
        <p:nvSpPr>
          <p:cNvPr id="7" name="Pfeil nach unten 6"/>
          <p:cNvSpPr/>
          <p:nvPr/>
        </p:nvSpPr>
        <p:spPr>
          <a:xfrm>
            <a:off x="4329684" y="3844787"/>
            <a:ext cx="484632"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1979712" y="4434129"/>
            <a:ext cx="8896226" cy="523220"/>
          </a:xfrm>
          <a:prstGeom prst="rect">
            <a:avLst/>
          </a:prstGeom>
          <a:noFill/>
        </p:spPr>
        <p:txBody>
          <a:bodyPr wrap="square" rtlCol="0">
            <a:spAutoFit/>
          </a:bodyPr>
          <a:lstStyle/>
          <a:p>
            <a:r>
              <a:rPr lang="de-DE" sz="2800" dirty="0" smtClean="0"/>
              <a:t>Annahme: 10 % haben einen Carportbedarf</a:t>
            </a:r>
            <a:endParaRPr lang="de-DE" sz="2800" dirty="0"/>
          </a:p>
        </p:txBody>
      </p:sp>
      <p:sp>
        <p:nvSpPr>
          <p:cNvPr id="15"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1</a:t>
            </a:r>
          </a:p>
          <a:p>
            <a:endParaRPr lang="es-ES" dirty="0"/>
          </a:p>
        </p:txBody>
      </p:sp>
    </p:spTree>
    <p:extLst>
      <p:ext uri="{BB962C8B-B14F-4D97-AF65-F5344CB8AC3E}">
        <p14:creationId xmlns:p14="http://schemas.microsoft.com/office/powerpoint/2010/main" val="3835088310"/>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9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Marktanalyse Carportdach</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 name="Textfeld 5"/>
          <p:cNvSpPr txBox="1"/>
          <p:nvPr/>
        </p:nvSpPr>
        <p:spPr>
          <a:xfrm>
            <a:off x="341276" y="1709877"/>
            <a:ext cx="5598876" cy="2123658"/>
          </a:xfrm>
          <a:prstGeom prst="rect">
            <a:avLst/>
          </a:prstGeom>
          <a:noFill/>
        </p:spPr>
        <p:txBody>
          <a:bodyPr wrap="square" rtlCol="0">
            <a:spAutoFit/>
          </a:bodyPr>
          <a:lstStyle/>
          <a:p>
            <a:r>
              <a:rPr lang="de-DE" sz="2800" u="sng" dirty="0" smtClean="0"/>
              <a:t>Neuzulassungen von Elektroautos (</a:t>
            </a:r>
            <a:r>
              <a:rPr lang="de-DE" sz="2800" u="sng" dirty="0" err="1" smtClean="0"/>
              <a:t>Int</a:t>
            </a:r>
            <a:r>
              <a:rPr lang="de-DE" sz="2800" u="sng" dirty="0" smtClean="0"/>
              <a:t>)</a:t>
            </a:r>
          </a:p>
          <a:p>
            <a:endParaRPr lang="de-DE" sz="2800" u="sng" dirty="0"/>
          </a:p>
          <a:p>
            <a:r>
              <a:rPr lang="de-DE" sz="2800" dirty="0" smtClean="0"/>
              <a:t>2015 : 750.000</a:t>
            </a:r>
          </a:p>
          <a:p>
            <a:r>
              <a:rPr lang="de-DE" sz="2800" dirty="0" smtClean="0"/>
              <a:t>2016: 1,3 Mio.</a:t>
            </a:r>
          </a:p>
          <a:p>
            <a:endParaRPr lang="de-DE" sz="2000" dirty="0"/>
          </a:p>
        </p:txBody>
      </p:sp>
      <p:sp>
        <p:nvSpPr>
          <p:cNvPr id="5" name="Textfeld 4"/>
          <p:cNvSpPr txBox="1"/>
          <p:nvPr/>
        </p:nvSpPr>
        <p:spPr>
          <a:xfrm>
            <a:off x="5949560" y="2510096"/>
            <a:ext cx="2808312" cy="523220"/>
          </a:xfrm>
          <a:prstGeom prst="rect">
            <a:avLst/>
          </a:prstGeom>
          <a:noFill/>
        </p:spPr>
        <p:txBody>
          <a:bodyPr wrap="square" rtlCol="0">
            <a:spAutoFit/>
          </a:bodyPr>
          <a:lstStyle/>
          <a:p>
            <a:r>
              <a:rPr lang="de-DE" sz="2800" dirty="0"/>
              <a:t>10 m² = 800 €</a:t>
            </a:r>
          </a:p>
        </p:txBody>
      </p:sp>
      <p:sp>
        <p:nvSpPr>
          <p:cNvPr id="11" name="Textfeld 10"/>
          <p:cNvSpPr txBox="1"/>
          <p:nvPr/>
        </p:nvSpPr>
        <p:spPr>
          <a:xfrm>
            <a:off x="5949560" y="1709877"/>
            <a:ext cx="3403193" cy="523220"/>
          </a:xfrm>
          <a:prstGeom prst="rect">
            <a:avLst/>
          </a:prstGeom>
          <a:noFill/>
        </p:spPr>
        <p:txBody>
          <a:bodyPr wrap="square" rtlCol="0">
            <a:spAutoFit/>
          </a:bodyPr>
          <a:lstStyle/>
          <a:p>
            <a:r>
              <a:rPr lang="de-DE" sz="2800" u="sng" dirty="0" smtClean="0"/>
              <a:t>Carportdachpreis</a:t>
            </a:r>
            <a:endParaRPr lang="de-DE" sz="2800" u="sng" dirty="0"/>
          </a:p>
        </p:txBody>
      </p:sp>
      <p:sp>
        <p:nvSpPr>
          <p:cNvPr id="7" name="Pfeil nach unten 6"/>
          <p:cNvSpPr/>
          <p:nvPr/>
        </p:nvSpPr>
        <p:spPr>
          <a:xfrm>
            <a:off x="4326673" y="3389278"/>
            <a:ext cx="484632"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1835696" y="4005064"/>
            <a:ext cx="8896226" cy="523220"/>
          </a:xfrm>
          <a:prstGeom prst="rect">
            <a:avLst/>
          </a:prstGeom>
          <a:noFill/>
        </p:spPr>
        <p:txBody>
          <a:bodyPr wrap="square" rtlCol="0">
            <a:spAutoFit/>
          </a:bodyPr>
          <a:lstStyle/>
          <a:p>
            <a:r>
              <a:rPr lang="de-DE" sz="2800" dirty="0" smtClean="0"/>
              <a:t>Annahme: 10 % haben einen Carportbedarf</a:t>
            </a:r>
            <a:endParaRPr lang="de-DE" sz="2800" dirty="0"/>
          </a:p>
        </p:txBody>
      </p:sp>
      <p:sp>
        <p:nvSpPr>
          <p:cNvPr id="18" name="Pfeil nach unten 17"/>
          <p:cNvSpPr/>
          <p:nvPr/>
        </p:nvSpPr>
        <p:spPr>
          <a:xfrm>
            <a:off x="4326673" y="4526998"/>
            <a:ext cx="484632"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p:cNvSpPr txBox="1"/>
          <p:nvPr/>
        </p:nvSpPr>
        <p:spPr>
          <a:xfrm>
            <a:off x="2483768" y="5142784"/>
            <a:ext cx="5464770" cy="523220"/>
          </a:xfrm>
          <a:prstGeom prst="rect">
            <a:avLst/>
          </a:prstGeom>
          <a:noFill/>
        </p:spPr>
        <p:txBody>
          <a:bodyPr wrap="square" rtlCol="0">
            <a:spAutoFit/>
          </a:bodyPr>
          <a:lstStyle/>
          <a:p>
            <a:r>
              <a:rPr lang="de-DE" sz="2800" dirty="0" smtClean="0"/>
              <a:t>Marktpotential von 100 Mio. € / Jahr </a:t>
            </a:r>
            <a:endParaRPr lang="de-DE" sz="2800" dirty="0"/>
          </a:p>
        </p:txBody>
      </p:sp>
      <p:sp>
        <p:nvSpPr>
          <p:cNvPr id="19" name="Textfeld 18"/>
          <p:cNvSpPr txBox="1"/>
          <p:nvPr/>
        </p:nvSpPr>
        <p:spPr>
          <a:xfrm>
            <a:off x="2380147" y="6280504"/>
            <a:ext cx="5435819" cy="954107"/>
          </a:xfrm>
          <a:prstGeom prst="rect">
            <a:avLst/>
          </a:prstGeom>
          <a:noFill/>
        </p:spPr>
        <p:txBody>
          <a:bodyPr wrap="square" rtlCol="0">
            <a:spAutoFit/>
          </a:bodyPr>
          <a:lstStyle/>
          <a:p>
            <a:r>
              <a:rPr lang="de-DE" sz="2800" dirty="0"/>
              <a:t>8</a:t>
            </a:r>
            <a:r>
              <a:rPr lang="de-DE" sz="2800" dirty="0" smtClean="0"/>
              <a:t> Mio. € Einnahmen + Großparkplätze</a:t>
            </a:r>
          </a:p>
          <a:p>
            <a:endParaRPr lang="de-DE" sz="2800" dirty="0"/>
          </a:p>
        </p:txBody>
      </p:sp>
      <p:sp>
        <p:nvSpPr>
          <p:cNvPr id="20" name="Pfeil nach unten 19"/>
          <p:cNvSpPr/>
          <p:nvPr/>
        </p:nvSpPr>
        <p:spPr>
          <a:xfrm>
            <a:off x="4326673" y="5704440"/>
            <a:ext cx="484632"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1</a:t>
            </a:r>
          </a:p>
          <a:p>
            <a:endParaRPr lang="es-ES" dirty="0"/>
          </a:p>
        </p:txBody>
      </p:sp>
    </p:spTree>
    <p:extLst>
      <p:ext uri="{BB962C8B-B14F-4D97-AF65-F5344CB8AC3E}">
        <p14:creationId xmlns:p14="http://schemas.microsoft.com/office/powerpoint/2010/main" val="2108257578"/>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89"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Agrophotovoltaik</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6" name="Textfeld 5"/>
          <p:cNvSpPr txBox="1"/>
          <p:nvPr/>
        </p:nvSpPr>
        <p:spPr>
          <a:xfrm>
            <a:off x="260394" y="2578101"/>
            <a:ext cx="8623212" cy="2246769"/>
          </a:xfrm>
          <a:prstGeom prst="rect">
            <a:avLst/>
          </a:prstGeom>
          <a:noFill/>
        </p:spPr>
        <p:txBody>
          <a:bodyPr wrap="square" rtlCol="0">
            <a:spAutoFit/>
          </a:bodyPr>
          <a:lstStyle/>
          <a:p>
            <a:pPr algn="ctr"/>
            <a:r>
              <a:rPr lang="de-DE" sz="2800" b="0" dirty="0"/>
              <a:t>Die </a:t>
            </a:r>
            <a:r>
              <a:rPr lang="de-DE" sz="2800" dirty="0"/>
              <a:t>Agrophotovoltaik</a:t>
            </a:r>
            <a:r>
              <a:rPr lang="de-DE" sz="2800" b="0" dirty="0"/>
              <a:t> löst die Landnutzungskonkurrenz zwischen Energie- und </a:t>
            </a:r>
            <a:r>
              <a:rPr lang="de-DE" sz="2800" b="0" dirty="0" smtClean="0"/>
              <a:t>Nahrungsmittelproduktion.</a:t>
            </a:r>
            <a:r>
              <a:rPr lang="de-DE" sz="2800" b="0" dirty="0"/>
              <a:t> </a:t>
            </a:r>
            <a:endParaRPr lang="de-DE" sz="2800" b="0" dirty="0" smtClean="0"/>
          </a:p>
          <a:p>
            <a:pPr algn="ctr"/>
            <a:endParaRPr lang="de-DE" sz="2800" b="0" dirty="0"/>
          </a:p>
          <a:p>
            <a:pPr algn="ctr"/>
            <a:r>
              <a:rPr lang="de-DE" sz="2800" b="0" dirty="0" smtClean="0"/>
              <a:t>Das geschätzte Markpotenzial beläuft sich international auf über 100 Mrd. €/Jahr </a:t>
            </a:r>
            <a:endParaRPr lang="de-DE" sz="2800" dirty="0"/>
          </a:p>
        </p:txBody>
      </p:sp>
      <p:sp>
        <p:nvSpPr>
          <p:cNvPr id="26"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2</a:t>
            </a:r>
          </a:p>
          <a:p>
            <a:endParaRPr lang="es-ES" dirty="0"/>
          </a:p>
        </p:txBody>
      </p:sp>
    </p:spTree>
    <p:extLst>
      <p:ext uri="{BB962C8B-B14F-4D97-AF65-F5344CB8AC3E}">
        <p14:creationId xmlns:p14="http://schemas.microsoft.com/office/powerpoint/2010/main" val="230489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8"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Businessmodell</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16" name="Rechteck 15"/>
          <p:cNvSpPr/>
          <p:nvPr/>
        </p:nvSpPr>
        <p:spPr>
          <a:xfrm>
            <a:off x="459256" y="3356695"/>
            <a:ext cx="7942418"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dirty="0" smtClean="0">
                <a:solidFill>
                  <a:srgbClr val="394994"/>
                </a:solidFill>
              </a:rPr>
              <a:t>Zusätzliche Lizenzvergabe durch Spill-Over-Effekte </a:t>
            </a:r>
            <a:endParaRPr lang="de-DE" dirty="0">
              <a:solidFill>
                <a:srgbClr val="394994"/>
              </a:solidFill>
            </a:endParaRPr>
          </a:p>
        </p:txBody>
      </p:sp>
      <p:sp>
        <p:nvSpPr>
          <p:cNvPr id="17" name="Rechteck 16"/>
          <p:cNvSpPr/>
          <p:nvPr/>
        </p:nvSpPr>
        <p:spPr>
          <a:xfrm>
            <a:off x="438944" y="2733543"/>
            <a:ext cx="7920000"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ltLang="de-DE" dirty="0">
                <a:solidFill>
                  <a:srgbClr val="394994"/>
                </a:solidFill>
              </a:rPr>
              <a:t>Aufbau </a:t>
            </a:r>
            <a:r>
              <a:rPr lang="de-DE" altLang="de-DE" dirty="0" smtClean="0">
                <a:solidFill>
                  <a:srgbClr val="394994"/>
                </a:solidFill>
              </a:rPr>
              <a:t>von Produktionsstätten</a:t>
            </a:r>
            <a:endParaRPr lang="de-DE" altLang="de-DE" dirty="0">
              <a:solidFill>
                <a:srgbClr val="394994"/>
              </a:solidFill>
            </a:endParaRPr>
          </a:p>
        </p:txBody>
      </p:sp>
      <p:sp>
        <p:nvSpPr>
          <p:cNvPr id="18" name="Rechteck 17"/>
          <p:cNvSpPr/>
          <p:nvPr/>
        </p:nvSpPr>
        <p:spPr>
          <a:xfrm>
            <a:off x="457200" y="2113846"/>
            <a:ext cx="7920000"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394994"/>
                </a:solidFill>
              </a:rPr>
              <a:t>Integration der Technologie in die Produktion </a:t>
            </a:r>
            <a:r>
              <a:rPr lang="de-DE" dirty="0" smtClean="0">
                <a:solidFill>
                  <a:srgbClr val="394994"/>
                </a:solidFill>
              </a:rPr>
              <a:t>von PV Zellen/Module </a:t>
            </a:r>
            <a:endParaRPr lang="de-DE" dirty="0">
              <a:solidFill>
                <a:srgbClr val="394994"/>
              </a:solidFill>
            </a:endParaRPr>
          </a:p>
        </p:txBody>
      </p:sp>
      <p:sp>
        <p:nvSpPr>
          <p:cNvPr id="19" name="Rechteck 18"/>
          <p:cNvSpPr/>
          <p:nvPr/>
        </p:nvSpPr>
        <p:spPr>
          <a:xfrm>
            <a:off x="438839" y="5225928"/>
            <a:ext cx="1236236" cy="338554"/>
          </a:xfrm>
          <a:prstGeom prst="rect">
            <a:avLst/>
          </a:prstGeom>
        </p:spPr>
        <p:txBody>
          <a:bodyPr wrap="none">
            <a:spAutoFit/>
          </a:bodyPr>
          <a:lstStyle/>
          <a:p>
            <a:r>
              <a:rPr lang="de-DE" altLang="en-US" b="1" dirty="0" smtClean="0">
                <a:solidFill>
                  <a:srgbClr val="394994"/>
                </a:solidFill>
                <a:latin typeface="+mj-lt"/>
              </a:rPr>
              <a:t>Finanzbedarf</a:t>
            </a:r>
            <a:endParaRPr lang="de-DE" b="1" dirty="0">
              <a:solidFill>
                <a:srgbClr val="394994"/>
              </a:solidFill>
              <a:latin typeface="+mj-lt"/>
            </a:endParaRPr>
          </a:p>
        </p:txBody>
      </p:sp>
      <p:sp>
        <p:nvSpPr>
          <p:cNvPr id="21"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3</a:t>
            </a:r>
            <a:endParaRPr lang="es-ES" dirty="0"/>
          </a:p>
        </p:txBody>
      </p:sp>
      <p:sp>
        <p:nvSpPr>
          <p:cNvPr id="22" name="Rechteck 21"/>
          <p:cNvSpPr/>
          <p:nvPr/>
        </p:nvSpPr>
        <p:spPr>
          <a:xfrm>
            <a:off x="438944" y="5642220"/>
            <a:ext cx="6491064"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smtClean="0">
                <a:solidFill>
                  <a:srgbClr val="394994"/>
                </a:solidFill>
              </a:rPr>
              <a:t>      Engagement </a:t>
            </a:r>
            <a:r>
              <a:rPr lang="de-DE" dirty="0">
                <a:solidFill>
                  <a:srgbClr val="394994"/>
                </a:solidFill>
              </a:rPr>
              <a:t>von </a:t>
            </a:r>
            <a:r>
              <a:rPr lang="de-DE" dirty="0" smtClean="0">
                <a:solidFill>
                  <a:srgbClr val="394994"/>
                </a:solidFill>
              </a:rPr>
              <a:t>Kunden </a:t>
            </a:r>
            <a:r>
              <a:rPr lang="de-DE" dirty="0">
                <a:solidFill>
                  <a:srgbClr val="394994"/>
                </a:solidFill>
              </a:rPr>
              <a:t>im frühen </a:t>
            </a:r>
            <a:r>
              <a:rPr lang="de-DE" dirty="0" smtClean="0">
                <a:solidFill>
                  <a:srgbClr val="394994"/>
                </a:solidFill>
              </a:rPr>
              <a:t>Stadium</a:t>
            </a:r>
          </a:p>
        </p:txBody>
      </p:sp>
      <p:sp>
        <p:nvSpPr>
          <p:cNvPr id="23" name="Rechteck 22"/>
          <p:cNvSpPr/>
          <p:nvPr/>
        </p:nvSpPr>
        <p:spPr>
          <a:xfrm>
            <a:off x="438556" y="6265372"/>
            <a:ext cx="6491064"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smtClean="0">
                <a:solidFill>
                  <a:srgbClr val="394994"/>
                </a:solidFill>
              </a:rPr>
              <a:t>      Engagement </a:t>
            </a:r>
            <a:r>
              <a:rPr lang="de-DE" dirty="0">
                <a:solidFill>
                  <a:srgbClr val="394994"/>
                </a:solidFill>
              </a:rPr>
              <a:t>von </a:t>
            </a:r>
            <a:r>
              <a:rPr lang="de-DE" dirty="0" smtClean="0">
                <a:solidFill>
                  <a:srgbClr val="394994"/>
                </a:solidFill>
              </a:rPr>
              <a:t>Investoren</a:t>
            </a:r>
            <a:endParaRPr lang="de-DE" dirty="0">
              <a:solidFill>
                <a:srgbClr val="394994"/>
              </a:solidFill>
            </a:endParaRPr>
          </a:p>
        </p:txBody>
      </p:sp>
      <p:sp>
        <p:nvSpPr>
          <p:cNvPr id="29" name="Rechteck 28"/>
          <p:cNvSpPr/>
          <p:nvPr/>
        </p:nvSpPr>
        <p:spPr>
          <a:xfrm>
            <a:off x="474266" y="4602776"/>
            <a:ext cx="7942418"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dirty="0">
                <a:solidFill>
                  <a:srgbClr val="394994"/>
                </a:solidFill>
              </a:rPr>
              <a:t>Koppelung Solartechnik an die Gesundheitswirtschaft „</a:t>
            </a:r>
            <a:r>
              <a:rPr lang="de-DE" dirty="0" err="1">
                <a:solidFill>
                  <a:srgbClr val="394994"/>
                </a:solidFill>
              </a:rPr>
              <a:t>long</a:t>
            </a:r>
            <a:r>
              <a:rPr lang="de-DE" dirty="0">
                <a:solidFill>
                  <a:srgbClr val="394994"/>
                </a:solidFill>
              </a:rPr>
              <a:t> </a:t>
            </a:r>
            <a:r>
              <a:rPr lang="de-DE" dirty="0" err="1">
                <a:solidFill>
                  <a:srgbClr val="394994"/>
                </a:solidFill>
              </a:rPr>
              <a:t>life</a:t>
            </a:r>
            <a:r>
              <a:rPr lang="de-DE" dirty="0">
                <a:solidFill>
                  <a:srgbClr val="394994"/>
                </a:solidFill>
              </a:rPr>
              <a:t>“</a:t>
            </a:r>
          </a:p>
        </p:txBody>
      </p:sp>
      <p:sp>
        <p:nvSpPr>
          <p:cNvPr id="30" name="Rechteck 29"/>
          <p:cNvSpPr/>
          <p:nvPr/>
        </p:nvSpPr>
        <p:spPr>
          <a:xfrm>
            <a:off x="474266" y="3978136"/>
            <a:ext cx="7942418"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dirty="0" smtClean="0">
                <a:solidFill>
                  <a:srgbClr val="394994"/>
                </a:solidFill>
              </a:rPr>
              <a:t>Innovatives Mitarbeiterbeteiligungsmodell</a:t>
            </a:r>
            <a:endParaRPr lang="de-DE" dirty="0">
              <a:solidFill>
                <a:srgbClr val="394994"/>
              </a:solidFill>
            </a:endParaRPr>
          </a:p>
        </p:txBody>
      </p:sp>
      <p:sp>
        <p:nvSpPr>
          <p:cNvPr id="31" name="Rechteck 30"/>
          <p:cNvSpPr/>
          <p:nvPr/>
        </p:nvSpPr>
        <p:spPr>
          <a:xfrm>
            <a:off x="438241" y="1697075"/>
            <a:ext cx="848309" cy="338554"/>
          </a:xfrm>
          <a:prstGeom prst="rect">
            <a:avLst/>
          </a:prstGeom>
        </p:spPr>
        <p:txBody>
          <a:bodyPr wrap="none">
            <a:spAutoFit/>
          </a:bodyPr>
          <a:lstStyle/>
          <a:p>
            <a:r>
              <a:rPr lang="de-DE" altLang="en-US" b="1" dirty="0" smtClean="0">
                <a:solidFill>
                  <a:srgbClr val="394994"/>
                </a:solidFill>
                <a:latin typeface="+mj-lt"/>
              </a:rPr>
              <a:t>Ausblick</a:t>
            </a:r>
            <a:endParaRPr lang="de-DE" b="1" dirty="0">
              <a:solidFill>
                <a:srgbClr val="394994"/>
              </a:solidFill>
              <a:latin typeface="+mj-lt"/>
            </a:endParaRPr>
          </a:p>
        </p:txBody>
      </p:sp>
    </p:spTree>
    <p:extLst>
      <p:ext uri="{BB962C8B-B14F-4D97-AF65-F5344CB8AC3E}">
        <p14:creationId xmlns:p14="http://schemas.microsoft.com/office/powerpoint/2010/main" val="3059201173"/>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4"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8195" name="Rectangle 2"/>
          <p:cNvSpPr>
            <a:spLocks noChangeArrowheads="1"/>
          </p:cNvSpPr>
          <p:nvPr/>
        </p:nvSpPr>
        <p:spPr bwMode="auto">
          <a:xfrm>
            <a:off x="539750" y="719138"/>
            <a:ext cx="4676775" cy="1027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eaLnBrk="1" hangingPunct="1">
              <a:lnSpc>
                <a:spcPct val="100000"/>
              </a:lnSpc>
              <a:buClrTx/>
              <a:buSzPct val="90000"/>
              <a:buFontTx/>
              <a:buNone/>
            </a:pPr>
            <a:r>
              <a:rPr lang="en-US" altLang="de-DE" sz="2000" dirty="0">
                <a:solidFill>
                  <a:srgbClr val="394994"/>
                </a:solidFill>
                <a:latin typeface="Arial" pitchFamily="34" charset="0"/>
              </a:rPr>
              <a:t>Unser </a:t>
            </a:r>
            <a:r>
              <a:rPr lang="en-US" altLang="de-DE" sz="2000" dirty="0" err="1" smtClean="0">
                <a:solidFill>
                  <a:srgbClr val="394994"/>
                </a:solidFill>
                <a:latin typeface="Arial" pitchFamily="34" charset="0"/>
              </a:rPr>
              <a:t>Geschäftsfeld</a:t>
            </a:r>
            <a:r>
              <a:rPr lang="en-US" altLang="de-DE" sz="2000" dirty="0" smtClean="0">
                <a:solidFill>
                  <a:srgbClr val="394994"/>
                </a:solidFill>
                <a:latin typeface="Arial" pitchFamily="34" charset="0"/>
              </a:rPr>
              <a:t> - Partner</a:t>
            </a:r>
            <a:endParaRPr lang="en-US" altLang="de-DE" sz="2000" dirty="0">
              <a:solidFill>
                <a:srgbClr val="394994"/>
              </a:solidFill>
              <a:latin typeface="Arial" pitchFamily="34" charset="0"/>
            </a:endParaRPr>
          </a:p>
        </p:txBody>
      </p:sp>
      <p:grpSp>
        <p:nvGrpSpPr>
          <p:cNvPr id="8197" name="Group 9"/>
          <p:cNvGrpSpPr>
            <a:grpSpLocks/>
          </p:cNvGrpSpPr>
          <p:nvPr/>
        </p:nvGrpSpPr>
        <p:grpSpPr bwMode="auto">
          <a:xfrm>
            <a:off x="5443538" y="115888"/>
            <a:ext cx="3640137" cy="1296987"/>
            <a:chOff x="3429" y="73"/>
            <a:chExt cx="2293" cy="817"/>
          </a:xfrm>
        </p:grpSpPr>
        <p:grpSp>
          <p:nvGrpSpPr>
            <p:cNvPr id="8200" name="Group 4"/>
            <p:cNvGrpSpPr>
              <a:grpSpLocks noChangeAspect="1"/>
            </p:cNvGrpSpPr>
            <p:nvPr/>
          </p:nvGrpSpPr>
          <p:grpSpPr bwMode="auto">
            <a:xfrm>
              <a:off x="4513" y="73"/>
              <a:ext cx="855" cy="568"/>
              <a:chOff x="4307" y="328"/>
              <a:chExt cx="964" cy="640"/>
            </a:xfrm>
          </p:grpSpPr>
          <p:pic>
            <p:nvPicPr>
              <p:cNvPr id="820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3"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grpSp>
        <p:sp>
          <p:nvSpPr>
            <p:cNvPr id="8201"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r" eaLnBrk="1" hangingPunct="1">
                <a:lnSpc>
                  <a:spcPct val="100000"/>
                </a:lnSpc>
                <a:buClrTx/>
                <a:buSzPct val="90000"/>
                <a:buFontTx/>
                <a:buNone/>
              </a:pPr>
              <a:r>
                <a:rPr lang="de-DE" altLang="de-DE" sz="1800">
                  <a:solidFill>
                    <a:srgbClr val="777777"/>
                  </a:solidFill>
                  <a:latin typeface="Arial" pitchFamily="34" charset="0"/>
                </a:rPr>
                <a:t>Solar</a:t>
              </a:r>
              <a:r>
                <a:rPr lang="de-DE" altLang="de-DE" sz="1800" i="1">
                  <a:latin typeface="Arial" pitchFamily="34" charset="0"/>
                </a:rPr>
                <a:t>dynamik</a:t>
              </a:r>
              <a:r>
                <a:rPr lang="de-DE" altLang="de-DE" sz="1800">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30" name="Rubrik 1"/>
          <p:cNvSpPr txBox="1">
            <a:spLocks/>
          </p:cNvSpPr>
          <p:nvPr/>
        </p:nvSpPr>
        <p:spPr>
          <a:xfrm>
            <a:off x="419100" y="831875"/>
            <a:ext cx="6816725" cy="796925"/>
          </a:xfrm>
          <a:prstGeom prst="rect">
            <a:avLst/>
          </a:prstGeom>
        </p:spPr>
        <p:txBody>
          <a:bodyPr/>
          <a:lstStyle>
            <a:lvl1pPr algn="l" rtl="0" eaLnBrk="1" fontAlgn="base" hangingPunct="1">
              <a:spcBef>
                <a:spcPct val="0"/>
              </a:spcBef>
              <a:spcAft>
                <a:spcPct val="0"/>
              </a:spcAft>
              <a:defRPr sz="1900" b="1" kern="1200">
                <a:solidFill>
                  <a:schemeClr val="accent4">
                    <a:lumMod val="10000"/>
                  </a:schemeClr>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Calibri" charset="0"/>
              </a:defRPr>
            </a:lvl2pPr>
            <a:lvl3pPr algn="ctr" rtl="0" eaLnBrk="1" fontAlgn="base" hangingPunct="1">
              <a:spcBef>
                <a:spcPct val="0"/>
              </a:spcBef>
              <a:spcAft>
                <a:spcPct val="0"/>
              </a:spcAft>
              <a:defRPr sz="4400">
                <a:solidFill>
                  <a:schemeClr val="tx1"/>
                </a:solidFill>
                <a:latin typeface="Calibri" charset="0"/>
              </a:defRPr>
            </a:lvl3pPr>
            <a:lvl4pPr algn="ctr" rtl="0" eaLnBrk="1" fontAlgn="base" hangingPunct="1">
              <a:spcBef>
                <a:spcPct val="0"/>
              </a:spcBef>
              <a:spcAft>
                <a:spcPct val="0"/>
              </a:spcAft>
              <a:defRPr sz="4400">
                <a:solidFill>
                  <a:schemeClr val="tx1"/>
                </a:solidFill>
                <a:latin typeface="Calibri" charset="0"/>
              </a:defRPr>
            </a:lvl4pPr>
            <a:lvl5pPr algn="ctr" rtl="0" eaLnBrk="1" fontAlgn="base" hangingPunct="1">
              <a:spcBef>
                <a:spcPct val="0"/>
              </a:spcBef>
              <a:spcAft>
                <a:spcPct val="0"/>
              </a:spcAft>
              <a:defRPr sz="4400">
                <a:solidFill>
                  <a:schemeClr val="tx1"/>
                </a:solidFill>
                <a:latin typeface="Calibri" charset="0"/>
              </a:defRPr>
            </a:lvl5pPr>
            <a:lvl6pPr marL="457200" algn="ctr" rtl="0" eaLnBrk="1" fontAlgn="base" hangingPunct="1">
              <a:spcBef>
                <a:spcPct val="0"/>
              </a:spcBef>
              <a:spcAft>
                <a:spcPct val="0"/>
              </a:spcAft>
              <a:defRPr sz="4400">
                <a:solidFill>
                  <a:schemeClr val="tx1"/>
                </a:solidFill>
                <a:latin typeface="Calibri" charset="0"/>
              </a:defRPr>
            </a:lvl6pPr>
            <a:lvl7pPr marL="914400" algn="ctr" rtl="0" eaLnBrk="1" fontAlgn="base" hangingPunct="1">
              <a:spcBef>
                <a:spcPct val="0"/>
              </a:spcBef>
              <a:spcAft>
                <a:spcPct val="0"/>
              </a:spcAft>
              <a:defRPr sz="4400">
                <a:solidFill>
                  <a:schemeClr val="tx1"/>
                </a:solidFill>
                <a:latin typeface="Calibri" charset="0"/>
              </a:defRPr>
            </a:lvl7pPr>
            <a:lvl8pPr marL="1371600" algn="ctr" rtl="0" eaLnBrk="1" fontAlgn="base" hangingPunct="1">
              <a:spcBef>
                <a:spcPct val="0"/>
              </a:spcBef>
              <a:spcAft>
                <a:spcPct val="0"/>
              </a:spcAft>
              <a:defRPr sz="4400">
                <a:solidFill>
                  <a:schemeClr val="tx1"/>
                </a:solidFill>
                <a:latin typeface="Calibri" charset="0"/>
              </a:defRPr>
            </a:lvl8pPr>
            <a:lvl9pPr marL="1828800" algn="ctr" rtl="0" eaLnBrk="1" fontAlgn="base" hangingPunct="1">
              <a:spcBef>
                <a:spcPct val="0"/>
              </a:spcBef>
              <a:spcAft>
                <a:spcPct val="0"/>
              </a:spcAft>
              <a:defRPr sz="4400">
                <a:solidFill>
                  <a:schemeClr val="tx1"/>
                </a:solidFill>
                <a:latin typeface="Calibri" charset="0"/>
              </a:defRPr>
            </a:lvl9pPr>
          </a:lstStyle>
          <a:p>
            <a:endParaRPr lang="sv-SE" altLang="en-US" dirty="0" smtClean="0"/>
          </a:p>
        </p:txBody>
      </p:sp>
      <p:sp>
        <p:nvSpPr>
          <p:cNvPr id="31" name="Text Box 3"/>
          <p:cNvSpPr txBox="1">
            <a:spLocks noChangeArrowheads="1"/>
          </p:cNvSpPr>
          <p:nvPr/>
        </p:nvSpPr>
        <p:spPr bwMode="auto">
          <a:xfrm>
            <a:off x="251520" y="1549738"/>
            <a:ext cx="8712968" cy="288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360000" bIns="0">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just" eaLnBrk="1" hangingPunct="1">
              <a:lnSpc>
                <a:spcPts val="2500"/>
              </a:lnSpc>
              <a:spcAft>
                <a:spcPts val="1200"/>
              </a:spcAft>
              <a:buClrTx/>
              <a:buSzPct val="90000"/>
              <a:buFontTx/>
              <a:buNone/>
            </a:pPr>
            <a:r>
              <a:rPr lang="en-US" altLang="de-DE" sz="1400" b="0" dirty="0" smtClean="0">
                <a:solidFill>
                  <a:srgbClr val="394994"/>
                </a:solidFill>
                <a:latin typeface="Arial" pitchFamily="34" charset="0"/>
                <a:cs typeface="Arial" pitchFamily="34" charset="0"/>
              </a:rPr>
              <a:t>Die </a:t>
            </a:r>
            <a:r>
              <a:rPr lang="en-US" altLang="de-DE" sz="1800" b="1" dirty="0" smtClean="0">
                <a:solidFill>
                  <a:srgbClr val="394994"/>
                </a:solidFill>
                <a:latin typeface="Arial" pitchFamily="34" charset="0"/>
                <a:cs typeface="Arial" pitchFamily="34" charset="0"/>
              </a:rPr>
              <a:t>Solardynamik GmbH </a:t>
            </a:r>
            <a:r>
              <a:rPr lang="en-US" altLang="de-DE" sz="1400" b="0" dirty="0" err="1" smtClean="0">
                <a:solidFill>
                  <a:srgbClr val="394994"/>
                </a:solidFill>
                <a:latin typeface="Arial" pitchFamily="34" charset="0"/>
                <a:cs typeface="Arial" pitchFamily="34" charset="0"/>
              </a:rPr>
              <a:t>identifiziert</a:t>
            </a:r>
            <a:r>
              <a:rPr lang="en-US" altLang="de-DE" sz="1400" b="0" dirty="0" smtClean="0">
                <a:solidFill>
                  <a:srgbClr val="394994"/>
                </a:solidFill>
                <a:latin typeface="Arial" pitchFamily="34" charset="0"/>
                <a:cs typeface="Arial" pitchFamily="34" charset="0"/>
              </a:rPr>
              <a:t> </a:t>
            </a:r>
            <a:r>
              <a:rPr lang="en-US" altLang="de-DE" sz="1400" b="1" dirty="0" err="1" smtClean="0">
                <a:solidFill>
                  <a:srgbClr val="394994"/>
                </a:solidFill>
                <a:latin typeface="Arial" pitchFamily="34" charset="0"/>
                <a:cs typeface="Arial" pitchFamily="34" charset="0"/>
              </a:rPr>
              <a:t>wirtschaftliches</a:t>
            </a:r>
            <a:r>
              <a:rPr lang="en-US" altLang="de-DE" sz="1400" b="0" dirty="0" smtClean="0">
                <a:solidFill>
                  <a:srgbClr val="394994"/>
                </a:solidFill>
                <a:latin typeface="Arial" pitchFamily="34" charset="0"/>
                <a:cs typeface="Arial" pitchFamily="34" charset="0"/>
              </a:rPr>
              <a:t> und </a:t>
            </a:r>
            <a:r>
              <a:rPr lang="en-US" altLang="de-DE" sz="1400" b="1" dirty="0" err="1" smtClean="0">
                <a:solidFill>
                  <a:srgbClr val="394994"/>
                </a:solidFill>
                <a:latin typeface="Arial" pitchFamily="34" charset="0"/>
                <a:cs typeface="Arial" pitchFamily="34" charset="0"/>
              </a:rPr>
              <a:t>innovatives</a:t>
            </a:r>
            <a:r>
              <a:rPr lang="en-US" altLang="de-DE" sz="1400" b="1" dirty="0" smtClean="0">
                <a:solidFill>
                  <a:srgbClr val="394994"/>
                </a:solidFill>
                <a:latin typeface="Arial" pitchFamily="34" charset="0"/>
                <a:cs typeface="Arial" pitchFamily="34" charset="0"/>
              </a:rPr>
              <a:t> </a:t>
            </a:r>
            <a:r>
              <a:rPr lang="en-US" altLang="de-DE" sz="1400" b="0" dirty="0" smtClean="0">
                <a:solidFill>
                  <a:srgbClr val="394994"/>
                </a:solidFill>
                <a:latin typeface="Arial" pitchFamily="34" charset="0"/>
                <a:cs typeface="Arial" pitchFamily="34" charset="0"/>
              </a:rPr>
              <a:t>Potential, </a:t>
            </a:r>
            <a:r>
              <a:rPr lang="en-US" altLang="de-DE" sz="1400" b="0" dirty="0" err="1" smtClean="0">
                <a:solidFill>
                  <a:srgbClr val="394994"/>
                </a:solidFill>
                <a:latin typeface="Arial" pitchFamily="34" charset="0"/>
                <a:cs typeface="Arial" pitchFamily="34" charset="0"/>
              </a:rPr>
              <a:t>forscht</a:t>
            </a:r>
            <a:r>
              <a:rPr lang="en-US" altLang="de-DE" sz="1400" b="0" dirty="0" smtClean="0">
                <a:solidFill>
                  <a:srgbClr val="394994"/>
                </a:solidFill>
                <a:latin typeface="Arial" pitchFamily="34" charset="0"/>
                <a:cs typeface="Arial" pitchFamily="34" charset="0"/>
              </a:rPr>
              <a:t> und </a:t>
            </a:r>
            <a:r>
              <a:rPr lang="en-US" altLang="de-DE" sz="1400" b="0" dirty="0" err="1" smtClean="0">
                <a:solidFill>
                  <a:srgbClr val="394994"/>
                </a:solidFill>
                <a:latin typeface="Arial" pitchFamily="34" charset="0"/>
                <a:cs typeface="Arial" pitchFamily="34" charset="0"/>
              </a:rPr>
              <a:t>erarbeitet</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Konzepte</a:t>
            </a:r>
            <a:r>
              <a:rPr lang="en-US" altLang="de-DE" sz="1400" b="0" dirty="0" smtClean="0">
                <a:solidFill>
                  <a:srgbClr val="394994"/>
                </a:solidFill>
                <a:latin typeface="Arial" pitchFamily="34" charset="0"/>
                <a:cs typeface="Arial" pitchFamily="34" charset="0"/>
              </a:rPr>
              <a:t>, um </a:t>
            </a:r>
            <a:r>
              <a:rPr lang="en-US" altLang="de-DE" sz="1400" b="1" dirty="0" err="1" smtClean="0">
                <a:solidFill>
                  <a:srgbClr val="394994"/>
                </a:solidFill>
                <a:latin typeface="Arial" pitchFamily="34" charset="0"/>
                <a:cs typeface="Arial" pitchFamily="34" charset="0"/>
              </a:rPr>
              <a:t>Solartechnologie</a:t>
            </a:r>
            <a:r>
              <a:rPr lang="en-US" altLang="de-DE" sz="1400" b="0" dirty="0" smtClean="0">
                <a:solidFill>
                  <a:srgbClr val="394994"/>
                </a:solidFill>
                <a:latin typeface="Arial" pitchFamily="34" charset="0"/>
                <a:cs typeface="Arial" pitchFamily="34" charset="0"/>
              </a:rPr>
              <a:t> und regenerative </a:t>
            </a:r>
            <a:r>
              <a:rPr lang="en-US" altLang="de-DE" sz="1400" b="0" dirty="0" err="1" smtClean="0">
                <a:solidFill>
                  <a:srgbClr val="394994"/>
                </a:solidFill>
                <a:latin typeface="Arial" pitchFamily="34" charset="0"/>
                <a:cs typeface="Arial" pitchFamily="34" charset="0"/>
              </a:rPr>
              <a:t>Energie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für</a:t>
            </a:r>
            <a:r>
              <a:rPr lang="en-US" altLang="de-DE" sz="1400" b="0" dirty="0" smtClean="0">
                <a:solidFill>
                  <a:srgbClr val="394994"/>
                </a:solidFill>
                <a:latin typeface="Arial" pitchFamily="34" charset="0"/>
                <a:cs typeface="Arial" pitchFamily="34" charset="0"/>
              </a:rPr>
              <a:t> die </a:t>
            </a:r>
            <a:r>
              <a:rPr lang="en-US" altLang="de-DE" sz="1400" b="0" dirty="0" err="1" smtClean="0">
                <a:solidFill>
                  <a:srgbClr val="394994"/>
                </a:solidFill>
                <a:latin typeface="Arial" pitchFamily="34" charset="0"/>
                <a:cs typeface="Arial" pitchFamily="34" charset="0"/>
              </a:rPr>
              <a:t>öffentliche</a:t>
            </a:r>
            <a:r>
              <a:rPr lang="en-US" altLang="de-DE" sz="1400" b="0" dirty="0" smtClean="0">
                <a:solidFill>
                  <a:srgbClr val="394994"/>
                </a:solidFill>
                <a:latin typeface="Arial" pitchFamily="34" charset="0"/>
                <a:cs typeface="Arial" pitchFamily="34" charset="0"/>
              </a:rPr>
              <a:t> Hand und </a:t>
            </a:r>
            <a:r>
              <a:rPr lang="en-US" altLang="de-DE" sz="1400" b="0" dirty="0" err="1" smtClean="0">
                <a:solidFill>
                  <a:srgbClr val="394994"/>
                </a:solidFill>
                <a:latin typeface="Arial" pitchFamily="34" charset="0"/>
                <a:cs typeface="Arial" pitchFamily="34" charset="0"/>
              </a:rPr>
              <a:t>für</a:t>
            </a:r>
            <a:r>
              <a:rPr lang="en-US" altLang="de-DE" sz="1400" b="0" dirty="0" smtClean="0">
                <a:solidFill>
                  <a:srgbClr val="394994"/>
                </a:solidFill>
                <a:latin typeface="Arial" pitchFamily="34" charset="0"/>
                <a:cs typeface="Arial" pitchFamily="34" charset="0"/>
              </a:rPr>
              <a:t> den </a:t>
            </a:r>
            <a:r>
              <a:rPr lang="en-US" altLang="de-DE" sz="1400" b="0" dirty="0" err="1" smtClean="0">
                <a:solidFill>
                  <a:srgbClr val="394994"/>
                </a:solidFill>
                <a:latin typeface="Arial" pitchFamily="34" charset="0"/>
                <a:cs typeface="Arial" pitchFamily="34" charset="0"/>
              </a:rPr>
              <a:t>Markt</a:t>
            </a:r>
            <a:r>
              <a:rPr lang="en-US" altLang="de-DE" sz="1400" b="0" dirty="0" smtClean="0">
                <a:solidFill>
                  <a:srgbClr val="394994"/>
                </a:solidFill>
                <a:latin typeface="Arial" pitchFamily="34" charset="0"/>
                <a:cs typeface="Arial" pitchFamily="34" charset="0"/>
              </a:rPr>
              <a:t> </a:t>
            </a:r>
            <a:r>
              <a:rPr lang="en-US" altLang="de-DE" sz="1400" dirty="0" err="1" smtClean="0">
                <a:solidFill>
                  <a:srgbClr val="394994"/>
                </a:solidFill>
                <a:latin typeface="Arial" pitchFamily="34" charset="0"/>
                <a:cs typeface="Arial" pitchFamily="34" charset="0"/>
              </a:rPr>
              <a:t>effizienter</a:t>
            </a:r>
            <a:r>
              <a:rPr lang="en-US" altLang="de-DE" sz="1400" dirty="0" smtClean="0">
                <a:solidFill>
                  <a:srgbClr val="394994"/>
                </a:solidFill>
                <a:latin typeface="Arial" pitchFamily="34" charset="0"/>
                <a:cs typeface="Arial" pitchFamily="34" charset="0"/>
              </a:rPr>
              <a:t> </a:t>
            </a:r>
            <a:r>
              <a:rPr lang="en-US" altLang="de-DE" sz="1400" dirty="0" err="1" smtClean="0">
                <a:solidFill>
                  <a:srgbClr val="394994"/>
                </a:solidFill>
                <a:latin typeface="Arial" pitchFamily="34" charset="0"/>
                <a:cs typeface="Arial" pitchFamily="34" charset="0"/>
              </a:rPr>
              <a:t>zu</a:t>
            </a:r>
            <a:r>
              <a:rPr lang="en-US" altLang="de-DE" sz="1400" dirty="0" smtClean="0">
                <a:solidFill>
                  <a:srgbClr val="394994"/>
                </a:solidFill>
                <a:latin typeface="Arial" pitchFamily="34" charset="0"/>
                <a:cs typeface="Arial" pitchFamily="34" charset="0"/>
              </a:rPr>
              <a:t> </a:t>
            </a:r>
            <a:r>
              <a:rPr lang="en-US" altLang="de-DE" sz="1400" dirty="0" err="1" smtClean="0">
                <a:solidFill>
                  <a:srgbClr val="394994"/>
                </a:solidFill>
                <a:latin typeface="Arial" pitchFamily="34" charset="0"/>
                <a:cs typeface="Arial" pitchFamily="34" charset="0"/>
              </a:rPr>
              <a:t>entwickel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Aktuell</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beschäftigt</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sie</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sich</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mit</a:t>
            </a:r>
            <a:r>
              <a:rPr lang="en-US" altLang="de-DE" sz="1400" b="0" dirty="0" smtClean="0">
                <a:solidFill>
                  <a:srgbClr val="394994"/>
                </a:solidFill>
                <a:latin typeface="Arial" pitchFamily="34" charset="0"/>
                <a:cs typeface="Arial" pitchFamily="34" charset="0"/>
              </a:rPr>
              <a:t> der </a:t>
            </a:r>
            <a:r>
              <a:rPr lang="en-US" altLang="de-DE" sz="1400" b="1" dirty="0" err="1" smtClean="0">
                <a:solidFill>
                  <a:srgbClr val="394994"/>
                </a:solidFill>
                <a:latin typeface="Arial" pitchFamily="34" charset="0"/>
                <a:cs typeface="Arial" pitchFamily="34" charset="0"/>
              </a:rPr>
              <a:t>Entwicklung</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adaptierter</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Solartechnik</a:t>
            </a:r>
            <a:r>
              <a:rPr lang="en-US" altLang="de-DE" sz="1400" b="0" dirty="0" smtClean="0">
                <a:solidFill>
                  <a:srgbClr val="394994"/>
                </a:solidFill>
                <a:latin typeface="Arial" pitchFamily="34" charset="0"/>
                <a:cs typeface="Arial" pitchFamily="34" charset="0"/>
              </a:rPr>
              <a:t> und der </a:t>
            </a:r>
            <a:r>
              <a:rPr lang="en-US" altLang="de-DE" sz="1400" dirty="0" err="1" smtClean="0">
                <a:solidFill>
                  <a:srgbClr val="394994"/>
                </a:solidFill>
                <a:latin typeface="Arial" pitchFamily="34" charset="0"/>
                <a:cs typeface="Arial" pitchFamily="34" charset="0"/>
              </a:rPr>
              <a:t>Produktion</a:t>
            </a:r>
            <a:r>
              <a:rPr lang="en-US" altLang="de-DE" sz="1400" dirty="0" smtClean="0">
                <a:solidFill>
                  <a:srgbClr val="394994"/>
                </a:solidFill>
                <a:latin typeface="Arial" pitchFamily="34" charset="0"/>
                <a:cs typeface="Arial" pitchFamily="34" charset="0"/>
              </a:rPr>
              <a:t> fester </a:t>
            </a:r>
            <a:r>
              <a:rPr lang="en-US" altLang="de-DE" sz="1400" b="0" dirty="0" smtClean="0">
                <a:solidFill>
                  <a:srgbClr val="394994"/>
                </a:solidFill>
                <a:latin typeface="Arial" pitchFamily="34" charset="0"/>
                <a:cs typeface="Arial" pitchFamily="34" charset="0"/>
              </a:rPr>
              <a:t>und </a:t>
            </a:r>
            <a:r>
              <a:rPr lang="en-US" altLang="de-DE" sz="1400" b="1" dirty="0" err="1" smtClean="0">
                <a:solidFill>
                  <a:srgbClr val="394994"/>
                </a:solidFill>
                <a:latin typeface="Arial" pitchFamily="34" charset="0"/>
                <a:cs typeface="Arial" pitchFamily="34" charset="0"/>
              </a:rPr>
              <a:t>dynamischer</a:t>
            </a:r>
            <a:r>
              <a:rPr lang="en-US" altLang="de-DE" sz="1400" b="1" dirty="0" smtClean="0">
                <a:solidFill>
                  <a:srgbClr val="394994"/>
                </a:solidFill>
                <a:latin typeface="Arial" pitchFamily="34" charset="0"/>
                <a:cs typeface="Arial" pitchFamily="34" charset="0"/>
              </a:rPr>
              <a:t> </a:t>
            </a:r>
            <a:r>
              <a:rPr lang="en-US" altLang="de-DE" sz="1400" b="1" dirty="0" err="1" smtClean="0">
                <a:solidFill>
                  <a:srgbClr val="394994"/>
                </a:solidFill>
                <a:latin typeface="Arial" pitchFamily="34" charset="0"/>
                <a:cs typeface="Arial" pitchFamily="34" charset="0"/>
              </a:rPr>
              <a:t>Trägersysteme</a:t>
            </a:r>
            <a:r>
              <a:rPr lang="en-US" altLang="de-DE" sz="1400" b="0" dirty="0" smtClean="0">
                <a:solidFill>
                  <a:srgbClr val="394994"/>
                </a:solidFill>
                <a:latin typeface="Arial" pitchFamily="34" charset="0"/>
                <a:cs typeface="Arial" pitchFamily="34" charset="0"/>
              </a:rPr>
              <a:t>, um </a:t>
            </a:r>
            <a:r>
              <a:rPr lang="en-US" altLang="de-DE" sz="1400" b="1" dirty="0" err="1" smtClean="0">
                <a:solidFill>
                  <a:srgbClr val="394994"/>
                </a:solidFill>
                <a:latin typeface="Arial" pitchFamily="34" charset="0"/>
                <a:cs typeface="Arial" pitchFamily="34" charset="0"/>
              </a:rPr>
              <a:t>Mehrwer</a:t>
            </a:r>
            <a:r>
              <a:rPr lang="en-US" altLang="de-DE" sz="1400" b="0" dirty="0" err="1" smtClean="0">
                <a:solidFill>
                  <a:srgbClr val="394994"/>
                </a:solidFill>
                <a:latin typeface="Arial" pitchFamily="34" charset="0"/>
                <a:cs typeface="Arial" pitchFamily="34" charset="0"/>
              </a:rPr>
              <a:t>t</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für</a:t>
            </a:r>
            <a:r>
              <a:rPr lang="en-US" altLang="de-DE" sz="1400" b="0" dirty="0" smtClean="0">
                <a:solidFill>
                  <a:srgbClr val="394994"/>
                </a:solidFill>
                <a:latin typeface="Arial" pitchFamily="34" charset="0"/>
                <a:cs typeface="Arial" pitchFamily="34" charset="0"/>
              </a:rPr>
              <a:t> die </a:t>
            </a:r>
            <a:r>
              <a:rPr lang="en-US" altLang="de-DE" sz="1400" b="1" dirty="0" err="1" smtClean="0">
                <a:solidFill>
                  <a:srgbClr val="394994"/>
                </a:solidFill>
                <a:latin typeface="Arial" pitchFamily="34" charset="0"/>
                <a:cs typeface="Arial" pitchFamily="34" charset="0"/>
              </a:rPr>
              <a:t>Landwirtschaft</a:t>
            </a:r>
            <a:r>
              <a:rPr lang="en-US" altLang="de-DE" sz="1400" b="0" dirty="0" smtClean="0">
                <a:solidFill>
                  <a:srgbClr val="394994"/>
                </a:solidFill>
                <a:latin typeface="Arial" pitchFamily="34" charset="0"/>
                <a:cs typeface="Arial" pitchFamily="34" charset="0"/>
              </a:rPr>
              <a:t>, </a:t>
            </a:r>
            <a:r>
              <a:rPr lang="en-US" altLang="de-DE" sz="1400" b="1" dirty="0" err="1" smtClean="0">
                <a:solidFill>
                  <a:srgbClr val="394994"/>
                </a:solidFill>
                <a:latin typeface="Arial" pitchFamily="34" charset="0"/>
                <a:cs typeface="Arial" pitchFamily="34" charset="0"/>
              </a:rPr>
              <a:t>Mobilität</a:t>
            </a:r>
            <a:r>
              <a:rPr lang="en-US" altLang="de-DE" sz="1400" b="0" dirty="0" smtClean="0">
                <a:solidFill>
                  <a:srgbClr val="394994"/>
                </a:solidFill>
                <a:latin typeface="Arial" pitchFamily="34" charset="0"/>
                <a:cs typeface="Arial" pitchFamily="34" charset="0"/>
              </a:rPr>
              <a:t> und </a:t>
            </a:r>
            <a:r>
              <a:rPr lang="en-US" altLang="de-DE" sz="1400" b="1" dirty="0" err="1" smtClean="0">
                <a:solidFill>
                  <a:srgbClr val="394994"/>
                </a:solidFill>
                <a:latin typeface="Arial" pitchFamily="34" charset="0"/>
                <a:cs typeface="Arial" pitchFamily="34" charset="0"/>
              </a:rPr>
              <a:t>Werbung</a:t>
            </a:r>
            <a:r>
              <a:rPr lang="en-US" altLang="de-DE" sz="1400" b="1"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zu</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schaffe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Hemmnisse</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zu</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beseitige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ist</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für</a:t>
            </a:r>
            <a:r>
              <a:rPr lang="en-US" altLang="de-DE" sz="1400" b="0" dirty="0" smtClean="0">
                <a:solidFill>
                  <a:srgbClr val="394994"/>
                </a:solidFill>
                <a:latin typeface="Arial" pitchFamily="34" charset="0"/>
                <a:cs typeface="Arial" pitchFamily="34" charset="0"/>
              </a:rPr>
              <a:t> die Solardynamik </a:t>
            </a:r>
            <a:r>
              <a:rPr lang="en-US" altLang="de-DE" sz="1400" b="0" dirty="0" err="1" smtClean="0">
                <a:solidFill>
                  <a:srgbClr val="394994"/>
                </a:solidFill>
                <a:latin typeface="Arial" pitchFamily="34" charset="0"/>
                <a:cs typeface="Arial" pitchFamily="34" charset="0"/>
              </a:rPr>
              <a:t>selbstverständlich</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beispielsweise</a:t>
            </a:r>
            <a:r>
              <a:rPr lang="en-US" altLang="de-DE" sz="1400" b="0" dirty="0" smtClean="0">
                <a:solidFill>
                  <a:srgbClr val="394994"/>
                </a:solidFill>
                <a:latin typeface="Arial" pitchFamily="34" charset="0"/>
                <a:cs typeface="Arial" pitchFamily="34" charset="0"/>
              </a:rPr>
              <a:t> um </a:t>
            </a:r>
            <a:r>
              <a:rPr lang="en-US" altLang="de-DE" sz="1400" b="0" dirty="0" err="1" smtClean="0">
                <a:solidFill>
                  <a:srgbClr val="394994"/>
                </a:solidFill>
                <a:latin typeface="Arial" pitchFamily="34" charset="0"/>
                <a:cs typeface="Arial" pitchFamily="34" charset="0"/>
              </a:rPr>
              <a:t>eine</a:t>
            </a:r>
            <a:r>
              <a:rPr lang="en-US" altLang="de-DE" sz="1400" b="0" dirty="0" smtClean="0">
                <a:solidFill>
                  <a:srgbClr val="394994"/>
                </a:solidFill>
                <a:latin typeface="Arial" pitchFamily="34" charset="0"/>
                <a:cs typeface="Arial" pitchFamily="34" charset="0"/>
              </a:rPr>
              <a:t> </a:t>
            </a:r>
            <a:r>
              <a:rPr lang="en-US" altLang="de-DE" sz="1400" dirty="0" err="1" smtClean="0">
                <a:solidFill>
                  <a:srgbClr val="394994"/>
                </a:solidFill>
                <a:latin typeface="Arial" pitchFamily="34" charset="0"/>
                <a:cs typeface="Arial" pitchFamily="34" charset="0"/>
              </a:rPr>
              <a:t>bessere</a:t>
            </a:r>
            <a:r>
              <a:rPr lang="en-US" altLang="de-DE" sz="1400" dirty="0" smtClean="0">
                <a:solidFill>
                  <a:srgbClr val="394994"/>
                </a:solidFill>
                <a:latin typeface="Arial" pitchFamily="34" charset="0"/>
                <a:cs typeface="Arial" pitchFamily="34" charset="0"/>
              </a:rPr>
              <a:t> </a:t>
            </a:r>
            <a:r>
              <a:rPr lang="en-US" altLang="de-DE" sz="1400" dirty="0" err="1" smtClean="0">
                <a:solidFill>
                  <a:srgbClr val="394994"/>
                </a:solidFill>
                <a:latin typeface="Arial" pitchFamily="34" charset="0"/>
                <a:cs typeface="Arial" pitchFamily="34" charset="0"/>
              </a:rPr>
              <a:t>architektonische</a:t>
            </a:r>
            <a:r>
              <a:rPr lang="en-US" altLang="de-DE" sz="1400" b="0" dirty="0" smtClean="0">
                <a:solidFill>
                  <a:srgbClr val="394994"/>
                </a:solidFill>
                <a:latin typeface="Arial" pitchFamily="34" charset="0"/>
                <a:cs typeface="Arial" pitchFamily="34" charset="0"/>
              </a:rPr>
              <a:t> und </a:t>
            </a:r>
            <a:r>
              <a:rPr lang="en-US" altLang="de-DE" sz="1400" b="0" dirty="0" err="1" smtClean="0">
                <a:solidFill>
                  <a:srgbClr val="394994"/>
                </a:solidFill>
                <a:latin typeface="Arial" pitchFamily="34" charset="0"/>
                <a:cs typeface="Arial" pitchFamily="34" charset="0"/>
              </a:rPr>
              <a:t>landschaftliche</a:t>
            </a:r>
            <a:r>
              <a:rPr lang="en-US" altLang="de-DE" sz="1400" b="0" dirty="0" smtClean="0">
                <a:solidFill>
                  <a:srgbClr val="394994"/>
                </a:solidFill>
                <a:latin typeface="Arial" pitchFamily="34" charset="0"/>
                <a:cs typeface="Arial" pitchFamily="34" charset="0"/>
              </a:rPr>
              <a:t> </a:t>
            </a:r>
            <a:r>
              <a:rPr lang="en-US" altLang="de-DE" sz="1400" dirty="0" smtClean="0">
                <a:solidFill>
                  <a:srgbClr val="394994"/>
                </a:solidFill>
                <a:latin typeface="Arial" pitchFamily="34" charset="0"/>
                <a:cs typeface="Arial" pitchFamily="34" charset="0"/>
              </a:rPr>
              <a:t>Integratio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mit</a:t>
            </a:r>
            <a:r>
              <a:rPr lang="en-US" altLang="de-DE" sz="1400" b="0" dirty="0" smtClean="0">
                <a:solidFill>
                  <a:srgbClr val="394994"/>
                </a:solidFill>
                <a:latin typeface="Arial" pitchFamily="34" charset="0"/>
                <a:cs typeface="Arial" pitchFamily="34" charset="0"/>
              </a:rPr>
              <a:t> der </a:t>
            </a:r>
            <a:r>
              <a:rPr lang="en-US" altLang="de-DE" sz="1400" b="0" dirty="0" err="1" smtClean="0">
                <a:solidFill>
                  <a:srgbClr val="394994"/>
                </a:solidFill>
                <a:latin typeface="Arial" pitchFamily="34" charset="0"/>
                <a:cs typeface="Arial" pitchFamily="34" charset="0"/>
              </a:rPr>
              <a:t>Einbindung</a:t>
            </a:r>
            <a:r>
              <a:rPr lang="en-US" altLang="de-DE" sz="1400" b="0" dirty="0" smtClean="0">
                <a:solidFill>
                  <a:srgbClr val="394994"/>
                </a:solidFill>
                <a:latin typeface="Arial" pitchFamily="34" charset="0"/>
                <a:cs typeface="Arial" pitchFamily="34" charset="0"/>
              </a:rPr>
              <a:t> in </a:t>
            </a:r>
            <a:r>
              <a:rPr lang="en-US" altLang="de-DE" sz="1400" b="0" dirty="0" err="1" smtClean="0">
                <a:solidFill>
                  <a:srgbClr val="394994"/>
                </a:solidFill>
                <a:latin typeface="Arial" pitchFamily="34" charset="0"/>
                <a:cs typeface="Arial" pitchFamily="34" charset="0"/>
              </a:rPr>
              <a:t>städtische</a:t>
            </a:r>
            <a:r>
              <a:rPr lang="en-US" altLang="de-DE" sz="1400" b="0" dirty="0" smtClean="0">
                <a:solidFill>
                  <a:srgbClr val="394994"/>
                </a:solidFill>
                <a:latin typeface="Arial" pitchFamily="34" charset="0"/>
                <a:cs typeface="Arial" pitchFamily="34" charset="0"/>
              </a:rPr>
              <a:t> und </a:t>
            </a:r>
            <a:r>
              <a:rPr lang="en-US" altLang="de-DE" sz="1400" b="0" dirty="0" err="1" smtClean="0">
                <a:solidFill>
                  <a:srgbClr val="394994"/>
                </a:solidFill>
                <a:latin typeface="Arial" pitchFamily="34" charset="0"/>
                <a:cs typeface="Arial" pitchFamily="34" charset="0"/>
              </a:rPr>
              <a:t>ländliche</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Strukture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zu</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erreiche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Nach</a:t>
            </a:r>
            <a:r>
              <a:rPr lang="en-US" altLang="de-DE" sz="1400" b="0" dirty="0" smtClean="0">
                <a:solidFill>
                  <a:srgbClr val="394994"/>
                </a:solidFill>
                <a:latin typeface="Arial" pitchFamily="34" charset="0"/>
                <a:cs typeface="Arial" pitchFamily="34" charset="0"/>
              </a:rPr>
              <a:t> der </a:t>
            </a:r>
            <a:r>
              <a:rPr lang="en-US" altLang="de-DE" sz="1400" b="0" dirty="0" err="1" smtClean="0">
                <a:solidFill>
                  <a:srgbClr val="394994"/>
                </a:solidFill>
                <a:latin typeface="Arial" pitchFamily="34" charset="0"/>
                <a:cs typeface="Arial" pitchFamily="34" charset="0"/>
              </a:rPr>
              <a:t>Evaluierung</a:t>
            </a:r>
            <a:r>
              <a:rPr lang="en-US" altLang="de-DE" sz="1400" b="0" dirty="0" smtClean="0">
                <a:solidFill>
                  <a:srgbClr val="394994"/>
                </a:solidFill>
                <a:latin typeface="Arial" pitchFamily="34" charset="0"/>
                <a:cs typeface="Arial" pitchFamily="34" charset="0"/>
              </a:rPr>
              <a:t> von </a:t>
            </a:r>
            <a:r>
              <a:rPr lang="en-US" altLang="de-DE" sz="1400" b="0" dirty="0" err="1" smtClean="0">
                <a:solidFill>
                  <a:srgbClr val="394994"/>
                </a:solidFill>
                <a:latin typeface="Arial" pitchFamily="34" charset="0"/>
                <a:cs typeface="Arial" pitchFamily="34" charset="0"/>
              </a:rPr>
              <a:t>Demonstratore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strebt</a:t>
            </a:r>
            <a:r>
              <a:rPr lang="en-US" altLang="de-DE" sz="1400" b="0" dirty="0" smtClean="0">
                <a:solidFill>
                  <a:srgbClr val="394994"/>
                </a:solidFill>
                <a:latin typeface="Arial" pitchFamily="34" charset="0"/>
                <a:cs typeface="Arial" pitchFamily="34" charset="0"/>
              </a:rPr>
              <a:t> die Solardynamik den </a:t>
            </a:r>
            <a:r>
              <a:rPr lang="en-US" altLang="de-DE" sz="1400" b="1" dirty="0" err="1" smtClean="0">
                <a:solidFill>
                  <a:srgbClr val="394994"/>
                </a:solidFill>
                <a:latin typeface="Arial" pitchFamily="34" charset="0"/>
                <a:cs typeface="Arial" pitchFamily="34" charset="0"/>
              </a:rPr>
              <a:t>Aufbau</a:t>
            </a:r>
            <a:r>
              <a:rPr lang="en-US" altLang="de-DE" sz="1400" b="1" dirty="0" smtClean="0">
                <a:solidFill>
                  <a:srgbClr val="394994"/>
                </a:solidFill>
                <a:latin typeface="Arial" pitchFamily="34" charset="0"/>
                <a:cs typeface="Arial" pitchFamily="34" charset="0"/>
              </a:rPr>
              <a:t> </a:t>
            </a:r>
            <a:r>
              <a:rPr lang="en-US" altLang="de-DE" sz="1400" b="1" dirty="0" err="1" smtClean="0">
                <a:solidFill>
                  <a:srgbClr val="394994"/>
                </a:solidFill>
                <a:latin typeface="Arial" pitchFamily="34" charset="0"/>
                <a:cs typeface="Arial" pitchFamily="34" charset="0"/>
              </a:rPr>
              <a:t>einer</a:t>
            </a:r>
            <a:r>
              <a:rPr lang="en-US" altLang="de-DE" sz="1400" b="1" dirty="0" smtClean="0">
                <a:solidFill>
                  <a:srgbClr val="394994"/>
                </a:solidFill>
                <a:latin typeface="Arial" pitchFamily="34" charset="0"/>
                <a:cs typeface="Arial" pitchFamily="34" charset="0"/>
              </a:rPr>
              <a:t> </a:t>
            </a:r>
            <a:r>
              <a:rPr lang="en-US" altLang="de-DE" sz="1400" b="1" dirty="0" err="1" smtClean="0">
                <a:solidFill>
                  <a:srgbClr val="394994"/>
                </a:solidFill>
                <a:latin typeface="Arial" pitchFamily="34" charset="0"/>
                <a:cs typeface="Arial" pitchFamily="34" charset="0"/>
              </a:rPr>
              <a:t>Produktionsstätte</a:t>
            </a:r>
            <a:r>
              <a:rPr lang="en-US" altLang="de-DE" sz="1400" b="1" dirty="0" smtClean="0">
                <a:solidFill>
                  <a:srgbClr val="394994"/>
                </a:solidFill>
                <a:latin typeface="Arial" pitchFamily="34" charset="0"/>
                <a:cs typeface="Arial" pitchFamily="34" charset="0"/>
              </a:rPr>
              <a:t> </a:t>
            </a:r>
            <a:r>
              <a:rPr lang="en-US" altLang="de-DE" sz="1400" b="0" dirty="0" smtClean="0">
                <a:solidFill>
                  <a:srgbClr val="394994"/>
                </a:solidFill>
                <a:latin typeface="Arial" pitchFamily="34" charset="0"/>
                <a:cs typeface="Arial" pitchFamily="34" charset="0"/>
              </a:rPr>
              <a:t>an, um die </a:t>
            </a:r>
            <a:r>
              <a:rPr lang="en-US" altLang="de-DE" sz="1400" b="0" dirty="0" err="1" smtClean="0">
                <a:solidFill>
                  <a:srgbClr val="394994"/>
                </a:solidFill>
                <a:latin typeface="Arial" pitchFamily="34" charset="0"/>
                <a:cs typeface="Arial" pitchFamily="34" charset="0"/>
              </a:rPr>
              <a:t>Technologie</a:t>
            </a:r>
            <a:r>
              <a:rPr lang="en-US" altLang="de-DE" sz="1400" b="0" dirty="0" smtClean="0">
                <a:solidFill>
                  <a:srgbClr val="394994"/>
                </a:solidFill>
                <a:latin typeface="Arial" pitchFamily="34" charset="0"/>
                <a:cs typeface="Arial" pitchFamily="34" charset="0"/>
              </a:rPr>
              <a:t> international </a:t>
            </a:r>
            <a:r>
              <a:rPr lang="en-US" altLang="de-DE" sz="1400" b="0" dirty="0" err="1" smtClean="0">
                <a:solidFill>
                  <a:srgbClr val="394994"/>
                </a:solidFill>
                <a:latin typeface="Arial" pitchFamily="34" charset="0"/>
                <a:cs typeface="Arial" pitchFamily="34" charset="0"/>
              </a:rPr>
              <a:t>zu</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etablieren</a:t>
            </a:r>
            <a:r>
              <a:rPr lang="en-US" altLang="de-DE" sz="1400" b="0" dirty="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Zusätzlich</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stehen</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wir</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gerne</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beratend</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mit</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unserer</a:t>
            </a:r>
            <a:r>
              <a:rPr lang="en-US" altLang="de-DE" sz="1400" b="0" dirty="0" smtClean="0">
                <a:solidFill>
                  <a:srgbClr val="394994"/>
                </a:solidFill>
                <a:latin typeface="Arial" pitchFamily="34" charset="0"/>
                <a:cs typeface="Arial" pitchFamily="34" charset="0"/>
              </a:rPr>
              <a:t> Expertise </a:t>
            </a:r>
            <a:r>
              <a:rPr lang="en-US" altLang="de-DE" sz="1400" b="0" dirty="0" err="1" smtClean="0">
                <a:solidFill>
                  <a:srgbClr val="394994"/>
                </a:solidFill>
                <a:latin typeface="Arial" pitchFamily="34" charset="0"/>
                <a:cs typeface="Arial" pitchFamily="34" charset="0"/>
              </a:rPr>
              <a:t>zur</a:t>
            </a:r>
            <a:r>
              <a:rPr lang="en-US" altLang="de-DE" sz="1400" b="0" dirty="0" smtClean="0">
                <a:solidFill>
                  <a:srgbClr val="394994"/>
                </a:solidFill>
                <a:latin typeface="Arial" pitchFamily="34" charset="0"/>
                <a:cs typeface="Arial" pitchFamily="34" charset="0"/>
              </a:rPr>
              <a:t> </a:t>
            </a:r>
            <a:r>
              <a:rPr lang="en-US" altLang="de-DE" sz="1400" b="0" dirty="0" err="1" smtClean="0">
                <a:solidFill>
                  <a:srgbClr val="394994"/>
                </a:solidFill>
                <a:latin typeface="Arial" pitchFamily="34" charset="0"/>
                <a:cs typeface="Arial" pitchFamily="34" charset="0"/>
              </a:rPr>
              <a:t>Verfügung</a:t>
            </a:r>
            <a:r>
              <a:rPr lang="en-US" altLang="de-DE" sz="1400" b="0" dirty="0" smtClean="0">
                <a:solidFill>
                  <a:srgbClr val="394994"/>
                </a:solidFill>
                <a:latin typeface="Arial" pitchFamily="34" charset="0"/>
                <a:cs typeface="Arial" pitchFamily="34" charset="0"/>
              </a:rPr>
              <a:t>.</a:t>
            </a:r>
          </a:p>
        </p:txBody>
      </p:sp>
      <p:sp>
        <p:nvSpPr>
          <p:cNvPr id="32" name="Rectangle 15"/>
          <p:cNvSpPr>
            <a:spLocks noChangeArrowheads="1"/>
          </p:cNvSpPr>
          <p:nvPr/>
        </p:nvSpPr>
        <p:spPr bwMode="auto">
          <a:xfrm>
            <a:off x="1475656" y="6059562"/>
            <a:ext cx="1617662"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nSpc>
                <a:spcPct val="110000"/>
              </a:lnSpc>
              <a:buClr>
                <a:srgbClr val="000000"/>
              </a:buClr>
              <a:buSzPct val="100000"/>
              <a:buFont typeface="Times New Roman" pitchFamily="18" charset="0"/>
              <a:buChar char="•"/>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5pPr>
            <a:lvl6pPr marL="25146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6pPr>
            <a:lvl7pPr marL="29718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7pPr>
            <a:lvl8pPr marL="34290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8pPr>
            <a:lvl9pPr marL="38862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9pPr>
          </a:lstStyle>
          <a:p>
            <a:pPr defTabSz="914400">
              <a:lnSpc>
                <a:spcPct val="100000"/>
              </a:lnSpc>
              <a:spcAft>
                <a:spcPts val="300"/>
              </a:spcAft>
              <a:buClr>
                <a:srgbClr val="394994"/>
              </a:buClr>
              <a:buSzPct val="90000"/>
              <a:buFont typeface="Webdings" pitchFamily="18" charset="2"/>
              <a:buNone/>
            </a:pPr>
            <a:r>
              <a:rPr lang="de-DE" altLang="de-DE" sz="1200" b="0" dirty="0">
                <a:solidFill>
                  <a:srgbClr val="394994"/>
                </a:solidFill>
                <a:cs typeface="Arial" pitchFamily="34" charset="0"/>
              </a:rPr>
              <a:t>Wolfgang Ackenhausen </a:t>
            </a:r>
          </a:p>
          <a:p>
            <a:pPr defTabSz="914400">
              <a:lnSpc>
                <a:spcPct val="100000"/>
              </a:lnSpc>
              <a:spcAft>
                <a:spcPts val="300"/>
              </a:spcAft>
              <a:buClr>
                <a:srgbClr val="394994"/>
              </a:buClr>
              <a:buSzPct val="90000"/>
              <a:buFont typeface="Webdings" pitchFamily="18" charset="2"/>
              <a:buNone/>
            </a:pPr>
            <a:r>
              <a:rPr lang="de-DE" altLang="de-DE" sz="1200" b="0" dirty="0">
                <a:solidFill>
                  <a:srgbClr val="394994"/>
                </a:solidFill>
                <a:cs typeface="Arial" pitchFamily="34" charset="0"/>
              </a:rPr>
              <a:t>CTO, </a:t>
            </a:r>
            <a:r>
              <a:rPr lang="de-DE" altLang="de-DE" sz="1200" b="0" dirty="0" smtClean="0">
                <a:solidFill>
                  <a:srgbClr val="394994"/>
                </a:solidFill>
                <a:cs typeface="Arial" pitchFamily="34" charset="0"/>
              </a:rPr>
              <a:t>Berlin</a:t>
            </a:r>
            <a:endParaRPr lang="de-DE" altLang="de-DE" sz="1200" b="0" dirty="0">
              <a:solidFill>
                <a:srgbClr val="394994"/>
              </a:solidFill>
              <a:cs typeface="Arial" pitchFamily="34" charset="0"/>
            </a:endParaRPr>
          </a:p>
        </p:txBody>
      </p:sp>
      <p:pic>
        <p:nvPicPr>
          <p:cNvPr id="33" name="Picture 25" descr="KFHarter0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881" y="4755608"/>
            <a:ext cx="971426" cy="1211287"/>
          </a:xfrm>
          <a:prstGeom prst="rect">
            <a:avLst/>
          </a:prstGeom>
          <a:noFill/>
          <a:ln w="19050">
            <a:solidFill>
              <a:srgbClr val="394994"/>
            </a:solidFill>
            <a:miter lim="800000"/>
            <a:headEnd/>
            <a:tailEnd/>
          </a:ln>
          <a:extLst>
            <a:ext uri="{909E8E84-426E-40DD-AFC4-6F175D3DCCD1}">
              <a14:hiddenFill xmlns:a14="http://schemas.microsoft.com/office/drawing/2010/main">
                <a:solidFill>
                  <a:srgbClr val="FFFFFF"/>
                </a:solidFill>
              </a14:hiddenFill>
            </a:ext>
          </a:extLst>
        </p:spPr>
      </p:pic>
      <p:sp>
        <p:nvSpPr>
          <p:cNvPr id="34" name="Rectangle 15"/>
          <p:cNvSpPr>
            <a:spLocks noChangeArrowheads="1"/>
          </p:cNvSpPr>
          <p:nvPr/>
        </p:nvSpPr>
        <p:spPr bwMode="auto">
          <a:xfrm>
            <a:off x="179512" y="6041551"/>
            <a:ext cx="2244725"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360000" bIns="0" anchor="ctr">
            <a:spAutoFit/>
          </a:bodyPr>
          <a:lstStyle>
            <a:lvl1pPr>
              <a:lnSpc>
                <a:spcPct val="110000"/>
              </a:lnSpc>
              <a:buClr>
                <a:srgbClr val="000000"/>
              </a:buClr>
              <a:buSzPct val="100000"/>
              <a:buFont typeface="Times New Roman" pitchFamily="18" charset="0"/>
              <a:buChar char="•"/>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5pPr>
            <a:lvl6pPr marL="25146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6pPr>
            <a:lvl7pPr marL="29718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7pPr>
            <a:lvl8pPr marL="34290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8pPr>
            <a:lvl9pPr marL="38862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9pPr>
          </a:lstStyle>
          <a:p>
            <a:pPr defTabSz="914400">
              <a:lnSpc>
                <a:spcPct val="100000"/>
              </a:lnSpc>
              <a:spcAft>
                <a:spcPts val="300"/>
              </a:spcAft>
              <a:buClr>
                <a:srgbClr val="394994"/>
              </a:buClr>
              <a:buSzPct val="90000"/>
              <a:buFont typeface="Webdings" pitchFamily="18" charset="2"/>
              <a:buNone/>
            </a:pPr>
            <a:r>
              <a:rPr lang="de-DE" altLang="de-DE" sz="1200" b="0" dirty="0">
                <a:solidFill>
                  <a:srgbClr val="394994"/>
                </a:solidFill>
                <a:cs typeface="Arial" pitchFamily="34" charset="0"/>
              </a:rPr>
              <a:t>Karl-Friedrich Harter </a:t>
            </a:r>
          </a:p>
          <a:p>
            <a:pPr defTabSz="914400">
              <a:lnSpc>
                <a:spcPct val="100000"/>
              </a:lnSpc>
              <a:spcAft>
                <a:spcPts val="300"/>
              </a:spcAft>
              <a:buClr>
                <a:srgbClr val="394994"/>
              </a:buClr>
              <a:buSzPct val="90000"/>
              <a:buFont typeface="Webdings" pitchFamily="18" charset="2"/>
              <a:buNone/>
            </a:pPr>
            <a:r>
              <a:rPr lang="de-DE" altLang="de-DE" sz="1200" b="0" dirty="0">
                <a:solidFill>
                  <a:srgbClr val="394994"/>
                </a:solidFill>
                <a:cs typeface="Arial" pitchFamily="34" charset="0"/>
              </a:rPr>
              <a:t>CEO, </a:t>
            </a:r>
            <a:r>
              <a:rPr lang="de-DE" altLang="de-DE" sz="1200" b="0" dirty="0" smtClean="0">
                <a:solidFill>
                  <a:srgbClr val="394994"/>
                </a:solidFill>
                <a:cs typeface="Arial" pitchFamily="34" charset="0"/>
              </a:rPr>
              <a:t>Berlin</a:t>
            </a:r>
            <a:endParaRPr lang="de-DE" altLang="de-DE" sz="1200" b="0" dirty="0">
              <a:solidFill>
                <a:srgbClr val="394994"/>
              </a:solidFill>
              <a:cs typeface="Arial" pitchFamily="34" charset="0"/>
            </a:endParaRPr>
          </a:p>
        </p:txBody>
      </p:sp>
      <p:pic>
        <p:nvPicPr>
          <p:cNvPr id="35" name="Picture 29" descr="1d2f63c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0278" y="4735194"/>
            <a:ext cx="931934" cy="1231701"/>
          </a:xfrm>
          <a:prstGeom prst="rect">
            <a:avLst/>
          </a:prstGeom>
          <a:noFill/>
          <a:ln w="19050">
            <a:solidFill>
              <a:srgbClr val="394994"/>
            </a:solidFill>
            <a:miter lim="800000"/>
            <a:headEnd/>
            <a:tailEnd/>
          </a:ln>
          <a:extLst>
            <a:ext uri="{909E8E84-426E-40DD-AFC4-6F175D3DCCD1}">
              <a14:hiddenFill xmlns:a14="http://schemas.microsoft.com/office/drawing/2010/main">
                <a:solidFill>
                  <a:srgbClr val="FFFFFF"/>
                </a:solidFill>
              </a14:hiddenFill>
            </a:ext>
          </a:extLst>
        </p:spPr>
      </p:pic>
      <p:sp>
        <p:nvSpPr>
          <p:cNvPr id="36" name="Rectangle 15"/>
          <p:cNvSpPr>
            <a:spLocks noChangeArrowheads="1"/>
          </p:cNvSpPr>
          <p:nvPr/>
        </p:nvSpPr>
        <p:spPr bwMode="auto">
          <a:xfrm>
            <a:off x="2896422" y="6086762"/>
            <a:ext cx="1946275"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lvl1pPr>
              <a:lnSpc>
                <a:spcPct val="110000"/>
              </a:lnSpc>
              <a:buClr>
                <a:srgbClr val="000000"/>
              </a:buClr>
              <a:buSzPct val="100000"/>
              <a:buFont typeface="Times New Roman" pitchFamily="18" charset="0"/>
              <a:buChar char="•"/>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5pPr>
            <a:lvl6pPr marL="25146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6pPr>
            <a:lvl7pPr marL="29718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7pPr>
            <a:lvl8pPr marL="34290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8pPr>
            <a:lvl9pPr marL="38862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9pPr>
          </a:lstStyle>
          <a:p>
            <a:pPr defTabSz="914400">
              <a:lnSpc>
                <a:spcPct val="100000"/>
              </a:lnSpc>
              <a:spcAft>
                <a:spcPts val="300"/>
              </a:spcAft>
              <a:buClr>
                <a:srgbClr val="394994"/>
              </a:buClr>
              <a:buSzPct val="90000"/>
              <a:buFont typeface="Webdings" pitchFamily="18" charset="2"/>
              <a:buNone/>
            </a:pPr>
            <a:r>
              <a:rPr lang="de-DE" altLang="de-DE" sz="1200" b="0" dirty="0" smtClean="0">
                <a:solidFill>
                  <a:srgbClr val="394994"/>
                </a:solidFill>
                <a:cs typeface="Arial" pitchFamily="34" charset="0"/>
              </a:rPr>
              <a:t>Prof. Dr. Wassermann</a:t>
            </a:r>
            <a:endParaRPr lang="de-DE" altLang="de-DE" sz="1200" b="0" dirty="0">
              <a:solidFill>
                <a:srgbClr val="394994"/>
              </a:solidFill>
              <a:cs typeface="Arial" pitchFamily="34" charset="0"/>
            </a:endParaRPr>
          </a:p>
          <a:p>
            <a:pPr defTabSz="914400">
              <a:lnSpc>
                <a:spcPct val="100000"/>
              </a:lnSpc>
              <a:spcAft>
                <a:spcPts val="300"/>
              </a:spcAft>
              <a:buClr>
                <a:srgbClr val="394994"/>
              </a:buClr>
              <a:buSzPct val="90000"/>
              <a:buFont typeface="Webdings" pitchFamily="18" charset="2"/>
              <a:buNone/>
            </a:pPr>
            <a:r>
              <a:rPr lang="de-DE" altLang="de-DE" sz="1200" b="0" dirty="0" smtClean="0">
                <a:solidFill>
                  <a:srgbClr val="394994"/>
                </a:solidFill>
                <a:cs typeface="Arial" pitchFamily="34" charset="0"/>
              </a:rPr>
              <a:t>Beirat (Betriebswirtschaft</a:t>
            </a:r>
            <a:r>
              <a:rPr lang="de-DE" altLang="de-DE" sz="1400" b="0" dirty="0" smtClean="0">
                <a:solidFill>
                  <a:srgbClr val="394994"/>
                </a:solidFill>
                <a:cs typeface="Arial" pitchFamily="34" charset="0"/>
              </a:rPr>
              <a:t>)</a:t>
            </a:r>
            <a:endParaRPr lang="de-DE" altLang="de-DE" sz="1400" b="0" dirty="0">
              <a:solidFill>
                <a:srgbClr val="394994"/>
              </a:solidFill>
              <a:cs typeface="Arial" pitchFamily="34" charset="0"/>
            </a:endParaRPr>
          </a:p>
        </p:txBody>
      </p:sp>
      <p:grpSp>
        <p:nvGrpSpPr>
          <p:cNvPr id="37" name="Gruppieren 36"/>
          <p:cNvGrpSpPr/>
          <p:nvPr/>
        </p:nvGrpSpPr>
        <p:grpSpPr>
          <a:xfrm>
            <a:off x="2896422" y="4725144"/>
            <a:ext cx="931934" cy="1231701"/>
            <a:chOff x="3386835" y="4386472"/>
            <a:chExt cx="931934" cy="1231701"/>
          </a:xfrm>
        </p:grpSpPr>
        <p:pic>
          <p:nvPicPr>
            <p:cNvPr id="38" name="Picture 29" descr="1d2f63c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6835" y="4386472"/>
              <a:ext cx="931934" cy="1231701"/>
            </a:xfrm>
            <a:prstGeom prst="rect">
              <a:avLst/>
            </a:prstGeom>
            <a:noFill/>
            <a:ln w="19050">
              <a:solidFill>
                <a:srgbClr val="394994"/>
              </a:solidFill>
              <a:miter lim="800000"/>
              <a:headEnd/>
              <a:tailEnd/>
            </a:ln>
            <a:extLst>
              <a:ext uri="{909E8E84-426E-40DD-AFC4-6F175D3DCCD1}">
                <a14:hiddenFill xmlns:a14="http://schemas.microsoft.com/office/drawing/2010/main">
                  <a:solidFill>
                    <a:srgbClr val="FFFFFF"/>
                  </a:solidFill>
                </a14:hiddenFill>
              </a:ext>
            </a:extLst>
          </p:spPr>
        </p:pic>
        <p:pic>
          <p:nvPicPr>
            <p:cNvPr id="39" name="Grafik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6835" y="4390454"/>
              <a:ext cx="931934" cy="1227719"/>
            </a:xfrm>
            <a:prstGeom prst="rect">
              <a:avLst/>
            </a:prstGeom>
          </p:spPr>
        </p:pic>
      </p:grpSp>
      <p:sp>
        <p:nvSpPr>
          <p:cNvPr id="45" name="Textfeld 44"/>
          <p:cNvSpPr txBox="1"/>
          <p:nvPr/>
        </p:nvSpPr>
        <p:spPr>
          <a:xfrm>
            <a:off x="4644008" y="4679274"/>
            <a:ext cx="3899610" cy="1323439"/>
          </a:xfrm>
          <a:prstGeom prst="rect">
            <a:avLst/>
          </a:prstGeom>
          <a:noFill/>
          <a:ln w="19050">
            <a:solidFill>
              <a:srgbClr val="394994"/>
            </a:solidFill>
          </a:ln>
        </p:spPr>
        <p:txBody>
          <a:bodyPr wrap="square" rtlCol="0">
            <a:spAutoFit/>
          </a:bodyPr>
          <a:lstStyle/>
          <a:p>
            <a:pPr>
              <a:lnSpc>
                <a:spcPts val="1600"/>
              </a:lnSpc>
            </a:pPr>
            <a:r>
              <a:rPr lang="en-US" altLang="de-DE" sz="1200" u="sng" dirty="0" err="1" smtClean="0">
                <a:solidFill>
                  <a:srgbClr val="394994"/>
                </a:solidFill>
                <a:latin typeface="Arial Narrow" panose="020B0606020202030204" pitchFamily="34" charset="0"/>
                <a:cs typeface="Arial" pitchFamily="34" charset="0"/>
              </a:rPr>
              <a:t>Aktuelle</a:t>
            </a:r>
            <a:r>
              <a:rPr lang="en-US" altLang="de-DE" sz="1200" u="sng" dirty="0" smtClean="0">
                <a:solidFill>
                  <a:srgbClr val="394994"/>
                </a:solidFill>
                <a:latin typeface="Arial Narrow" panose="020B0606020202030204" pitchFamily="34" charset="0"/>
                <a:cs typeface="Arial" pitchFamily="34" charset="0"/>
              </a:rPr>
              <a:t> FuE - Partner: </a:t>
            </a:r>
            <a:endParaRPr lang="en-US" altLang="de-DE" sz="1200" dirty="0" smtClean="0">
              <a:solidFill>
                <a:srgbClr val="394994"/>
              </a:solidFill>
              <a:latin typeface="Arial Narrow" panose="020B0606020202030204" pitchFamily="34" charset="0"/>
              <a:cs typeface="Arial" pitchFamily="34" charset="0"/>
            </a:endParaRPr>
          </a:p>
          <a:p>
            <a:pPr marL="285750" indent="-285750">
              <a:lnSpc>
                <a:spcPts val="1600"/>
              </a:lnSpc>
              <a:buFont typeface="Arial" panose="020B0604020202020204" pitchFamily="34" charset="0"/>
              <a:buChar char="•"/>
            </a:pPr>
            <a:r>
              <a:rPr lang="en-US" altLang="de-DE" sz="1200" b="0" dirty="0" err="1" smtClean="0">
                <a:solidFill>
                  <a:srgbClr val="394994"/>
                </a:solidFill>
                <a:latin typeface="Arial Narrow" panose="020B0606020202030204" pitchFamily="34" charset="0"/>
                <a:cs typeface="Arial" pitchFamily="34" charset="0"/>
              </a:rPr>
              <a:t>Fraunhofer</a:t>
            </a:r>
            <a:r>
              <a:rPr lang="en-US" altLang="de-DE" sz="1200" b="0" dirty="0" smtClean="0">
                <a:solidFill>
                  <a:srgbClr val="394994"/>
                </a:solidFill>
                <a:latin typeface="Arial Narrow" panose="020B0606020202030204" pitchFamily="34" charset="0"/>
                <a:cs typeface="Arial" pitchFamily="34" charset="0"/>
              </a:rPr>
              <a:t> –</a:t>
            </a:r>
            <a:r>
              <a:rPr lang="en-US" altLang="de-DE" sz="1200" b="0" dirty="0" err="1" smtClean="0">
                <a:solidFill>
                  <a:srgbClr val="394994"/>
                </a:solidFill>
                <a:latin typeface="Arial Narrow" panose="020B0606020202030204" pitchFamily="34" charset="0"/>
                <a:cs typeface="Arial" pitchFamily="34" charset="0"/>
              </a:rPr>
              <a:t>Institut</a:t>
            </a:r>
            <a:r>
              <a:rPr lang="en-US" altLang="de-DE" sz="1200" b="0" dirty="0" smtClean="0">
                <a:solidFill>
                  <a:srgbClr val="394994"/>
                </a:solidFill>
                <a:latin typeface="Arial Narrow" panose="020B0606020202030204" pitchFamily="34" charset="0"/>
                <a:cs typeface="Arial" pitchFamily="34" charset="0"/>
              </a:rPr>
              <a:t> </a:t>
            </a:r>
            <a:r>
              <a:rPr lang="en-US" altLang="de-DE" sz="1200" b="0" dirty="0" err="1" smtClean="0">
                <a:solidFill>
                  <a:srgbClr val="394994"/>
                </a:solidFill>
                <a:latin typeface="Arial Narrow" panose="020B0606020202030204" pitchFamily="34" charset="0"/>
                <a:cs typeface="Arial" pitchFamily="34" charset="0"/>
              </a:rPr>
              <a:t>für</a:t>
            </a:r>
            <a:r>
              <a:rPr lang="en-US" altLang="de-DE" sz="1200" b="0" dirty="0" smtClean="0">
                <a:solidFill>
                  <a:srgbClr val="394994"/>
                </a:solidFill>
                <a:latin typeface="Arial Narrow" panose="020B0606020202030204" pitchFamily="34" charset="0"/>
                <a:cs typeface="Arial" pitchFamily="34" charset="0"/>
              </a:rPr>
              <a:t> </a:t>
            </a:r>
            <a:r>
              <a:rPr lang="en-US" altLang="de-DE" sz="1200" b="0" dirty="0" err="1" smtClean="0">
                <a:solidFill>
                  <a:srgbClr val="394994"/>
                </a:solidFill>
                <a:latin typeface="Arial Narrow" panose="020B0606020202030204" pitchFamily="34" charset="0"/>
                <a:cs typeface="Arial" pitchFamily="34" charset="0"/>
              </a:rPr>
              <a:t>Angewandte</a:t>
            </a:r>
            <a:r>
              <a:rPr lang="en-US" altLang="de-DE" sz="1200" b="0" dirty="0">
                <a:solidFill>
                  <a:srgbClr val="394994"/>
                </a:solidFill>
                <a:latin typeface="Arial Narrow" panose="020B0606020202030204" pitchFamily="34" charset="0"/>
                <a:cs typeface="Arial" pitchFamily="34" charset="0"/>
              </a:rPr>
              <a:t> </a:t>
            </a:r>
            <a:r>
              <a:rPr lang="en-US" altLang="de-DE" sz="1200" b="0" dirty="0" err="1" smtClean="0">
                <a:solidFill>
                  <a:srgbClr val="394994"/>
                </a:solidFill>
                <a:latin typeface="Arial Narrow" panose="020B0606020202030204" pitchFamily="34" charset="0"/>
                <a:cs typeface="Arial" pitchFamily="34" charset="0"/>
              </a:rPr>
              <a:t>Polymerforschung</a:t>
            </a:r>
            <a:r>
              <a:rPr lang="en-US" altLang="de-DE" sz="1200" b="0" dirty="0" smtClean="0">
                <a:solidFill>
                  <a:srgbClr val="394994"/>
                </a:solidFill>
                <a:latin typeface="Arial Narrow" panose="020B0606020202030204" pitchFamily="34" charset="0"/>
                <a:cs typeface="Arial" pitchFamily="34" charset="0"/>
              </a:rPr>
              <a:t> (</a:t>
            </a:r>
            <a:r>
              <a:rPr lang="en-US" altLang="de-DE" sz="1200" b="0" dirty="0">
                <a:solidFill>
                  <a:srgbClr val="394994"/>
                </a:solidFill>
                <a:latin typeface="Arial Narrow" panose="020B0606020202030204" pitchFamily="34" charset="0"/>
                <a:cs typeface="Arial" pitchFamily="34" charset="0"/>
              </a:rPr>
              <a:t>IAP) </a:t>
            </a:r>
            <a:endParaRPr lang="en-US" altLang="de-DE" sz="1200" b="0" dirty="0" smtClean="0">
              <a:solidFill>
                <a:srgbClr val="394994"/>
              </a:solidFill>
              <a:latin typeface="Arial Narrow" panose="020B0606020202030204" pitchFamily="34" charset="0"/>
              <a:cs typeface="Arial" pitchFamily="34" charset="0"/>
            </a:endParaRPr>
          </a:p>
          <a:p>
            <a:pPr marL="285750" indent="-285750">
              <a:lnSpc>
                <a:spcPts val="1600"/>
              </a:lnSpc>
              <a:buFont typeface="Arial" panose="020B0604020202020204" pitchFamily="34" charset="0"/>
              <a:buChar char="•"/>
            </a:pPr>
            <a:r>
              <a:rPr lang="en-US" altLang="de-DE" sz="1200" b="0" dirty="0" smtClean="0">
                <a:solidFill>
                  <a:srgbClr val="394994"/>
                </a:solidFill>
                <a:latin typeface="Arial Narrow" panose="020B0606020202030204" pitchFamily="34" charset="0"/>
                <a:cs typeface="Arial" pitchFamily="34" charset="0"/>
              </a:rPr>
              <a:t>MTRIZ </a:t>
            </a:r>
            <a:r>
              <a:rPr lang="en-US" altLang="de-DE" sz="1200" b="0" dirty="0">
                <a:solidFill>
                  <a:srgbClr val="394994"/>
                </a:solidFill>
                <a:latin typeface="Arial Narrow" panose="020B0606020202030204" pitchFamily="34" charset="0"/>
                <a:cs typeface="Arial" pitchFamily="34" charset="0"/>
              </a:rPr>
              <a:t>Prof. Dr. Dr. sc. </a:t>
            </a:r>
            <a:r>
              <a:rPr lang="en-US" altLang="de-DE" sz="1200" b="0" dirty="0" err="1">
                <a:solidFill>
                  <a:srgbClr val="394994"/>
                </a:solidFill>
                <a:latin typeface="Arial Narrow" panose="020B0606020202030204" pitchFamily="34" charset="0"/>
                <a:cs typeface="Arial" pitchFamily="34" charset="0"/>
              </a:rPr>
              <a:t>Techn</a:t>
            </a:r>
            <a:r>
              <a:rPr lang="en-US" altLang="de-DE" sz="1200" b="0" dirty="0">
                <a:solidFill>
                  <a:srgbClr val="394994"/>
                </a:solidFill>
                <a:latin typeface="Arial Narrow" panose="020B0606020202030204" pitchFamily="34" charset="0"/>
                <a:cs typeface="Arial" pitchFamily="34" charset="0"/>
              </a:rPr>
              <a:t>. Michael Orloff &amp; </a:t>
            </a:r>
            <a:endParaRPr lang="en-US" altLang="de-DE" sz="1200" b="0" dirty="0" smtClean="0">
              <a:solidFill>
                <a:srgbClr val="394994"/>
              </a:solidFill>
              <a:latin typeface="Arial Narrow" panose="020B0606020202030204" pitchFamily="34" charset="0"/>
              <a:cs typeface="Arial" pitchFamily="34" charset="0"/>
            </a:endParaRPr>
          </a:p>
          <a:p>
            <a:pPr>
              <a:lnSpc>
                <a:spcPts val="1600"/>
              </a:lnSpc>
            </a:pPr>
            <a:r>
              <a:rPr lang="en-US" altLang="de-DE" sz="1200" b="0" dirty="0">
                <a:solidFill>
                  <a:srgbClr val="394994"/>
                </a:solidFill>
                <a:latin typeface="Arial Narrow" panose="020B0606020202030204" pitchFamily="34" charset="0"/>
                <a:cs typeface="Arial" pitchFamily="34" charset="0"/>
              </a:rPr>
              <a:t> </a:t>
            </a:r>
            <a:r>
              <a:rPr lang="en-US" altLang="de-DE" sz="1200" b="0" dirty="0" smtClean="0">
                <a:solidFill>
                  <a:srgbClr val="394994"/>
                </a:solidFill>
                <a:latin typeface="Arial Narrow" panose="020B0606020202030204" pitchFamily="34" charset="0"/>
                <a:cs typeface="Arial" pitchFamily="34" charset="0"/>
              </a:rPr>
              <a:t>       M.Sc</a:t>
            </a:r>
            <a:r>
              <a:rPr lang="en-US" altLang="de-DE" sz="1200" b="0" dirty="0">
                <a:solidFill>
                  <a:srgbClr val="394994"/>
                </a:solidFill>
                <a:latin typeface="Arial Narrow" panose="020B0606020202030204" pitchFamily="34" charset="0"/>
                <a:cs typeface="Arial" pitchFamily="34" charset="0"/>
              </a:rPr>
              <a:t>. Valentina </a:t>
            </a:r>
            <a:r>
              <a:rPr lang="en-US" altLang="de-DE" sz="1200" b="0" dirty="0" smtClean="0">
                <a:solidFill>
                  <a:srgbClr val="394994"/>
                </a:solidFill>
                <a:latin typeface="Arial Narrow" panose="020B0606020202030204" pitchFamily="34" charset="0"/>
                <a:cs typeface="Arial" pitchFamily="34" charset="0"/>
              </a:rPr>
              <a:t>Orloff</a:t>
            </a:r>
          </a:p>
          <a:p>
            <a:pPr marL="285750" indent="-285750">
              <a:lnSpc>
                <a:spcPts val="1600"/>
              </a:lnSpc>
              <a:buFont typeface="Arial" panose="020B0604020202020204" pitchFamily="34" charset="0"/>
              <a:buChar char="•"/>
            </a:pPr>
            <a:r>
              <a:rPr lang="en-US" altLang="de-DE" sz="1200" b="0" dirty="0" err="1" smtClean="0">
                <a:solidFill>
                  <a:srgbClr val="394994"/>
                </a:solidFill>
                <a:latin typeface="Arial Narrow" panose="020B0606020202030204" pitchFamily="34" charset="0"/>
                <a:cs typeface="Arial" pitchFamily="34" charset="0"/>
              </a:rPr>
              <a:t>Kooperation</a:t>
            </a:r>
            <a:r>
              <a:rPr lang="en-US" altLang="de-DE" sz="1200" b="0" dirty="0" smtClean="0">
                <a:solidFill>
                  <a:srgbClr val="394994"/>
                </a:solidFill>
                <a:latin typeface="Arial Narrow" panose="020B0606020202030204" pitchFamily="34" charset="0"/>
                <a:cs typeface="Arial" pitchFamily="34" charset="0"/>
              </a:rPr>
              <a:t> </a:t>
            </a:r>
            <a:r>
              <a:rPr lang="en-US" altLang="de-DE" sz="1200" b="0" dirty="0" err="1" smtClean="0">
                <a:solidFill>
                  <a:srgbClr val="394994"/>
                </a:solidFill>
                <a:latin typeface="Arial Narrow" panose="020B0606020202030204" pitchFamily="34" charset="0"/>
                <a:cs typeface="Arial" pitchFamily="34" charset="0"/>
              </a:rPr>
              <a:t>mit</a:t>
            </a:r>
            <a:r>
              <a:rPr lang="en-US" altLang="de-DE" sz="1200" b="0" dirty="0" smtClean="0">
                <a:solidFill>
                  <a:srgbClr val="394994"/>
                </a:solidFill>
                <a:latin typeface="Arial Narrow" panose="020B0606020202030204" pitchFamily="34" charset="0"/>
                <a:cs typeface="Arial" pitchFamily="34" charset="0"/>
              </a:rPr>
              <a:t> </a:t>
            </a:r>
            <a:r>
              <a:rPr lang="en-US" altLang="de-DE" sz="1200" b="0" dirty="0" err="1" smtClean="0">
                <a:solidFill>
                  <a:srgbClr val="394994"/>
                </a:solidFill>
                <a:latin typeface="Arial Narrow" panose="020B0606020202030204" pitchFamily="34" charset="0"/>
                <a:cs typeface="Arial" pitchFamily="34" charset="0"/>
              </a:rPr>
              <a:t>Universitäten</a:t>
            </a:r>
            <a:endParaRPr lang="en-US" altLang="de-DE" sz="1200" b="0" dirty="0" smtClean="0">
              <a:solidFill>
                <a:srgbClr val="394994"/>
              </a:solidFill>
              <a:latin typeface="Arial Narrow" panose="020B0606020202030204" pitchFamily="34" charset="0"/>
              <a:cs typeface="Arial" pitchFamily="34" charset="0"/>
            </a:endParaRPr>
          </a:p>
          <a:p>
            <a:pPr marL="285750" indent="-285750">
              <a:lnSpc>
                <a:spcPts val="1600"/>
              </a:lnSpc>
              <a:buFont typeface="Arial" panose="020B0604020202020204" pitchFamily="34" charset="0"/>
              <a:buChar char="•"/>
            </a:pPr>
            <a:r>
              <a:rPr lang="en-US" altLang="de-DE" sz="1200" b="0" dirty="0" smtClean="0">
                <a:solidFill>
                  <a:srgbClr val="394994"/>
                </a:solidFill>
                <a:latin typeface="Arial Narrow" panose="020B0606020202030204" pitchFamily="34" charset="0"/>
                <a:cs typeface="Arial" pitchFamily="34" charset="0"/>
              </a:rPr>
              <a:t>Dr. Oliver Lang, </a:t>
            </a:r>
            <a:r>
              <a:rPr lang="en-US" altLang="de-DE" sz="1200" b="0" dirty="0" err="1" smtClean="0">
                <a:solidFill>
                  <a:srgbClr val="394994"/>
                </a:solidFill>
                <a:latin typeface="Arial Narrow" panose="020B0606020202030204" pitchFamily="34" charset="0"/>
                <a:cs typeface="Arial" pitchFamily="34" charset="0"/>
              </a:rPr>
              <a:t>Leichtbausolarmodul</a:t>
            </a:r>
            <a:endParaRPr lang="en-US" altLang="de-DE" sz="1200" b="0" dirty="0">
              <a:solidFill>
                <a:srgbClr val="002060"/>
              </a:solidFill>
              <a:latin typeface="Arial Narrow" panose="020B0606020202030204" pitchFamily="34" charset="0"/>
              <a:cs typeface="Arial" pitchFamily="34" charset="0"/>
            </a:endParaRPr>
          </a:p>
        </p:txBody>
      </p:sp>
      <p:sp>
        <p:nvSpPr>
          <p:cNvPr id="46" name="Textfeld 45"/>
          <p:cNvSpPr txBox="1"/>
          <p:nvPr/>
        </p:nvSpPr>
        <p:spPr>
          <a:xfrm>
            <a:off x="4644008" y="6072807"/>
            <a:ext cx="3879100" cy="502702"/>
          </a:xfrm>
          <a:prstGeom prst="rect">
            <a:avLst/>
          </a:prstGeom>
          <a:noFill/>
          <a:ln w="19050">
            <a:solidFill>
              <a:srgbClr val="394994"/>
            </a:solidFill>
          </a:ln>
        </p:spPr>
        <p:txBody>
          <a:bodyPr wrap="square" rtlCol="0">
            <a:spAutoFit/>
          </a:bodyPr>
          <a:lstStyle/>
          <a:p>
            <a:pPr>
              <a:lnSpc>
                <a:spcPts val="1600"/>
              </a:lnSpc>
            </a:pPr>
            <a:r>
              <a:rPr lang="en-US" altLang="de-DE" sz="1200" u="sng" dirty="0" err="1" smtClean="0">
                <a:solidFill>
                  <a:srgbClr val="394994"/>
                </a:solidFill>
                <a:latin typeface="Arial Narrow" panose="020B0606020202030204" pitchFamily="34" charset="0"/>
                <a:cs typeface="Arial" pitchFamily="34" charset="0"/>
              </a:rPr>
              <a:t>Förderung</a:t>
            </a:r>
            <a:r>
              <a:rPr lang="en-US" altLang="de-DE" sz="1200" u="sng" dirty="0" smtClean="0">
                <a:solidFill>
                  <a:srgbClr val="394994"/>
                </a:solidFill>
                <a:latin typeface="Arial Narrow" panose="020B0606020202030204" pitchFamily="34" charset="0"/>
                <a:cs typeface="Arial" pitchFamily="34" charset="0"/>
              </a:rPr>
              <a:t>: </a:t>
            </a:r>
            <a:endParaRPr lang="en-US" altLang="de-DE" sz="1200" dirty="0" smtClean="0">
              <a:solidFill>
                <a:srgbClr val="394994"/>
              </a:solidFill>
              <a:latin typeface="Arial Narrow" panose="020B0606020202030204" pitchFamily="34" charset="0"/>
              <a:cs typeface="Arial" pitchFamily="34" charset="0"/>
            </a:endParaRPr>
          </a:p>
          <a:p>
            <a:pPr marL="285750" indent="-285750">
              <a:lnSpc>
                <a:spcPts val="1600"/>
              </a:lnSpc>
              <a:buFont typeface="Arial" panose="020B0604020202020204" pitchFamily="34" charset="0"/>
              <a:buChar char="•"/>
            </a:pPr>
            <a:r>
              <a:rPr lang="en-US" altLang="de-DE" sz="1200" b="0" dirty="0" err="1" smtClean="0">
                <a:solidFill>
                  <a:srgbClr val="394994"/>
                </a:solidFill>
                <a:latin typeface="Arial Narrow" panose="020B0606020202030204" pitchFamily="34" charset="0"/>
                <a:cs typeface="Arial" pitchFamily="34" charset="0"/>
              </a:rPr>
              <a:t>Horizont</a:t>
            </a:r>
            <a:r>
              <a:rPr lang="en-US" altLang="de-DE" sz="1200" b="0" dirty="0" smtClean="0">
                <a:solidFill>
                  <a:srgbClr val="394994"/>
                </a:solidFill>
                <a:latin typeface="Arial Narrow" panose="020B0606020202030204" pitchFamily="34" charset="0"/>
                <a:cs typeface="Arial" pitchFamily="34" charset="0"/>
              </a:rPr>
              <a:t> </a:t>
            </a:r>
            <a:r>
              <a:rPr lang="en-US" altLang="de-DE" sz="1200" b="0" dirty="0">
                <a:solidFill>
                  <a:srgbClr val="394994"/>
                </a:solidFill>
                <a:latin typeface="Arial Narrow" panose="020B0606020202030204" pitchFamily="34" charset="0"/>
                <a:cs typeface="Arial" pitchFamily="34" charset="0"/>
              </a:rPr>
              <a:t>2020 EU – </a:t>
            </a:r>
            <a:r>
              <a:rPr lang="en-US" altLang="de-DE" sz="1200" b="0" dirty="0" smtClean="0">
                <a:solidFill>
                  <a:srgbClr val="394994"/>
                </a:solidFill>
                <a:latin typeface="Arial Narrow" panose="020B0606020202030204" pitchFamily="34" charset="0"/>
                <a:cs typeface="Arial" pitchFamily="34" charset="0"/>
              </a:rPr>
              <a:t>SME, KIC-InnoEnergy, IBB</a:t>
            </a:r>
          </a:p>
        </p:txBody>
      </p:sp>
      <p:sp>
        <p:nvSpPr>
          <p:cNvPr id="22" name="Foliennummernplatzhalter 3"/>
          <p:cNvSpPr txBox="1">
            <a:spLocks/>
          </p:cNvSpPr>
          <p:nvPr/>
        </p:nvSpPr>
        <p:spPr>
          <a:xfrm>
            <a:off x="6776948" y="6467366"/>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a:t>1</a:t>
            </a:r>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additive="repl">
                                        <p:cTn id="6" dur="1" fill="hold">
                                          <p:stCondLst>
                                            <p:cond delay="0"/>
                                          </p:stCondLst>
                                        </p:cTn>
                                        <p:tgtEl>
                                          <p:spTgt spid="31">
                                            <p:txEl>
                                              <p:pRg st="0" end="0"/>
                                            </p:txEl>
                                          </p:spTgt>
                                        </p:tgtEl>
                                        <p:attrNameLst>
                                          <p:attrName>style.visibility</p:attrName>
                                        </p:attrNameLst>
                                      </p:cBhvr>
                                      <p:to>
                                        <p:strVal val="visible"/>
                                      </p:to>
                                    </p:set>
                                    <p:animEffect transition="in" filter="blinds(horizontal)">
                                      <p:cBhvr additive="repl">
                                        <p:cTn id="7" dur="500"/>
                                        <p:tgtEl>
                                          <p:spTgt spid="3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32"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2531"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22532"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Solardynamik sucht</a:t>
            </a:r>
            <a:endParaRPr lang="de-DE" altLang="de-DE" sz="2000" dirty="0">
              <a:latin typeface="Arial" pitchFamily="34" charset="0"/>
            </a:endParaRPr>
          </a:p>
        </p:txBody>
      </p:sp>
      <p:grpSp>
        <p:nvGrpSpPr>
          <p:cNvPr id="22533" name="Group 20"/>
          <p:cNvGrpSpPr>
            <a:grpSpLocks/>
          </p:cNvGrpSpPr>
          <p:nvPr/>
        </p:nvGrpSpPr>
        <p:grpSpPr bwMode="auto">
          <a:xfrm>
            <a:off x="5435600" y="115888"/>
            <a:ext cx="3640138" cy="1296987"/>
            <a:chOff x="3429" y="73"/>
            <a:chExt cx="2293" cy="817"/>
          </a:xfrm>
        </p:grpSpPr>
        <p:grpSp>
          <p:nvGrpSpPr>
            <p:cNvPr id="22539" name="Group 4"/>
            <p:cNvGrpSpPr>
              <a:grpSpLocks noChangeAspect="1"/>
            </p:cNvGrpSpPr>
            <p:nvPr/>
          </p:nvGrpSpPr>
          <p:grpSpPr bwMode="auto">
            <a:xfrm>
              <a:off x="4513" y="73"/>
              <a:ext cx="855" cy="568"/>
              <a:chOff x="4307" y="328"/>
              <a:chExt cx="964" cy="640"/>
            </a:xfrm>
          </p:grpSpPr>
          <p:pic>
            <p:nvPicPr>
              <p:cNvPr id="22541"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42"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22540"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19" name="Rechteck 18"/>
          <p:cNvSpPr/>
          <p:nvPr/>
        </p:nvSpPr>
        <p:spPr>
          <a:xfrm>
            <a:off x="459256" y="3356695"/>
            <a:ext cx="7942418"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rgbClr val="394994"/>
                </a:solidFill>
              </a:rPr>
              <a:t/>
            </a:r>
            <a:br>
              <a:rPr lang="de-DE" dirty="0" smtClean="0">
                <a:solidFill>
                  <a:srgbClr val="394994"/>
                </a:solidFill>
              </a:rPr>
            </a:br>
            <a:r>
              <a:rPr lang="de-DE" dirty="0" smtClean="0">
                <a:solidFill>
                  <a:srgbClr val="394994"/>
                </a:solidFill>
              </a:rPr>
              <a:t>Mitarbeiter/Mitgesellschafter, die sich auch finanziell im frühen Stadium engagieren  </a:t>
            </a:r>
            <a:endParaRPr lang="de-DE" dirty="0">
              <a:solidFill>
                <a:srgbClr val="394994"/>
              </a:solidFill>
            </a:endParaRPr>
          </a:p>
          <a:p>
            <a:pPr algn="ctr">
              <a:defRPr/>
            </a:pPr>
            <a:endParaRPr lang="de-DE" altLang="de-DE" dirty="0">
              <a:solidFill>
                <a:srgbClr val="394994"/>
              </a:solidFill>
            </a:endParaRPr>
          </a:p>
        </p:txBody>
      </p:sp>
      <p:sp>
        <p:nvSpPr>
          <p:cNvPr id="21" name="Rechteck 20"/>
          <p:cNvSpPr/>
          <p:nvPr/>
        </p:nvSpPr>
        <p:spPr>
          <a:xfrm>
            <a:off x="438944" y="2733543"/>
            <a:ext cx="7920000"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dirty="0" smtClean="0">
                <a:solidFill>
                  <a:srgbClr val="394994"/>
                </a:solidFill>
              </a:rPr>
              <a:t>Internationaler  Vertrieb durch </a:t>
            </a:r>
            <a:r>
              <a:rPr lang="de-DE" dirty="0">
                <a:solidFill>
                  <a:srgbClr val="394994"/>
                </a:solidFill>
              </a:rPr>
              <a:t>P</a:t>
            </a:r>
            <a:r>
              <a:rPr lang="de-DE" dirty="0" smtClean="0">
                <a:solidFill>
                  <a:srgbClr val="394994"/>
                </a:solidFill>
              </a:rPr>
              <a:t>artnerschaften</a:t>
            </a:r>
            <a:endParaRPr lang="de-DE" dirty="0">
              <a:solidFill>
                <a:srgbClr val="394994"/>
              </a:solidFill>
            </a:endParaRPr>
          </a:p>
        </p:txBody>
      </p:sp>
      <p:sp>
        <p:nvSpPr>
          <p:cNvPr id="22" name="Rechteck 21"/>
          <p:cNvSpPr/>
          <p:nvPr/>
        </p:nvSpPr>
        <p:spPr>
          <a:xfrm>
            <a:off x="457200" y="2113846"/>
            <a:ext cx="7920000"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rgbClr val="394994"/>
                </a:solidFill>
              </a:rPr>
              <a:t>Partnerschaft mit starken Marktführern aus der Energiewirtschaft</a:t>
            </a:r>
            <a:endParaRPr lang="de-DE" dirty="0">
              <a:solidFill>
                <a:srgbClr val="394994"/>
              </a:solidFill>
            </a:endParaRPr>
          </a:p>
        </p:txBody>
      </p:sp>
      <p:sp>
        <p:nvSpPr>
          <p:cNvPr id="24" name="Rechteck 23"/>
          <p:cNvSpPr/>
          <p:nvPr/>
        </p:nvSpPr>
        <p:spPr>
          <a:xfrm>
            <a:off x="474266" y="5419351"/>
            <a:ext cx="7977740"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rgbClr val="394994"/>
                </a:solidFill>
              </a:rPr>
              <a:t>      Investoren zur Finanzierung der Spill- Over- Effekte </a:t>
            </a:r>
          </a:p>
        </p:txBody>
      </p:sp>
      <p:sp>
        <p:nvSpPr>
          <p:cNvPr id="26" name="Rechteck 25"/>
          <p:cNvSpPr/>
          <p:nvPr/>
        </p:nvSpPr>
        <p:spPr>
          <a:xfrm>
            <a:off x="474266" y="4602776"/>
            <a:ext cx="7942418"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dirty="0" smtClean="0">
                <a:solidFill>
                  <a:srgbClr val="394994"/>
                </a:solidFill>
              </a:rPr>
              <a:t>Auftragsentwicklung in unserem Bereich </a:t>
            </a:r>
            <a:endParaRPr lang="de-DE" dirty="0">
              <a:solidFill>
                <a:srgbClr val="394994"/>
              </a:solidFill>
            </a:endParaRPr>
          </a:p>
        </p:txBody>
      </p:sp>
      <p:sp>
        <p:nvSpPr>
          <p:cNvPr id="27" name="Rechteck 26"/>
          <p:cNvSpPr/>
          <p:nvPr/>
        </p:nvSpPr>
        <p:spPr>
          <a:xfrm>
            <a:off x="474266" y="3978136"/>
            <a:ext cx="7942418" cy="410400"/>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de-DE" dirty="0" smtClean="0">
                <a:solidFill>
                  <a:srgbClr val="394994"/>
                </a:solidFill>
              </a:rPr>
              <a:t>Produkterweiterungen und Produktergänzungen (e.g. Elektromobilität)</a:t>
            </a:r>
            <a:endParaRPr lang="de-DE" dirty="0">
              <a:solidFill>
                <a:srgbClr val="394994"/>
              </a:solidFill>
            </a:endParaRPr>
          </a:p>
        </p:txBody>
      </p:sp>
      <p:sp>
        <p:nvSpPr>
          <p:cNvPr id="28" name="Rechteck 27"/>
          <p:cNvSpPr/>
          <p:nvPr/>
        </p:nvSpPr>
        <p:spPr>
          <a:xfrm>
            <a:off x="438241" y="1697075"/>
            <a:ext cx="3008772" cy="338554"/>
          </a:xfrm>
          <a:prstGeom prst="rect">
            <a:avLst/>
          </a:prstGeom>
        </p:spPr>
        <p:txBody>
          <a:bodyPr wrap="none">
            <a:spAutoFit/>
          </a:bodyPr>
          <a:lstStyle/>
          <a:p>
            <a:r>
              <a:rPr lang="de-DE" altLang="en-US" dirty="0" smtClean="0">
                <a:latin typeface="+mj-lt"/>
              </a:rPr>
              <a:t>zur weiteren </a:t>
            </a:r>
            <a:r>
              <a:rPr lang="de-DE" altLang="en-US" b="1" dirty="0" smtClean="0">
                <a:solidFill>
                  <a:srgbClr val="394994"/>
                </a:solidFill>
                <a:latin typeface="+mj-lt"/>
              </a:rPr>
              <a:t>Geschäftsentwicklung</a:t>
            </a:r>
            <a:endParaRPr lang="de-DE" b="1" dirty="0">
              <a:solidFill>
                <a:srgbClr val="394994"/>
              </a:solidFill>
              <a:latin typeface="+mj-lt"/>
            </a:endParaRPr>
          </a:p>
        </p:txBody>
      </p:sp>
      <p:sp>
        <p:nvSpPr>
          <p:cNvPr id="17"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4</a:t>
            </a:r>
            <a:endParaRPr lang="es-ES" dirty="0"/>
          </a:p>
        </p:txBody>
      </p:sp>
    </p:spTree>
    <p:extLst>
      <p:ext uri="{BB962C8B-B14F-4D97-AF65-F5344CB8AC3E}">
        <p14:creationId xmlns:p14="http://schemas.microsoft.com/office/powerpoint/2010/main" val="548198524"/>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24579" name="Rectangle 2"/>
          <p:cNvSpPr>
            <a:spLocks noChangeArrowheads="1"/>
          </p:cNvSpPr>
          <p:nvPr/>
        </p:nvSpPr>
        <p:spPr bwMode="auto">
          <a:xfrm>
            <a:off x="539750" y="719138"/>
            <a:ext cx="4676775" cy="1027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eaLnBrk="1" hangingPunct="1">
              <a:lnSpc>
                <a:spcPct val="100000"/>
              </a:lnSpc>
              <a:buClrTx/>
              <a:buSzPct val="90000"/>
              <a:buFontTx/>
              <a:buNone/>
            </a:pPr>
            <a:r>
              <a:rPr lang="en-US" altLang="de-DE" sz="2000" dirty="0">
                <a:solidFill>
                  <a:srgbClr val="394994"/>
                </a:solidFill>
                <a:latin typeface="Arial" pitchFamily="34" charset="0"/>
              </a:rPr>
              <a:t>Solardynamik </a:t>
            </a:r>
            <a:r>
              <a:rPr lang="en-US" altLang="de-DE" sz="2000" dirty="0" smtClean="0">
                <a:solidFill>
                  <a:srgbClr val="394994"/>
                </a:solidFill>
                <a:latin typeface="Arial" pitchFamily="34" charset="0"/>
              </a:rPr>
              <a:t>Team und Partner </a:t>
            </a:r>
            <a:endParaRPr lang="en-US" altLang="de-DE" sz="2000" dirty="0">
              <a:solidFill>
                <a:srgbClr val="394994"/>
              </a:solidFill>
              <a:latin typeface="Arial" pitchFamily="34" charset="0"/>
            </a:endParaRPr>
          </a:p>
        </p:txBody>
      </p:sp>
      <p:grpSp>
        <p:nvGrpSpPr>
          <p:cNvPr id="24580" name="Group 9"/>
          <p:cNvGrpSpPr>
            <a:grpSpLocks/>
          </p:cNvGrpSpPr>
          <p:nvPr/>
        </p:nvGrpSpPr>
        <p:grpSpPr bwMode="auto">
          <a:xfrm>
            <a:off x="5443538" y="115888"/>
            <a:ext cx="3640137" cy="1296987"/>
            <a:chOff x="3429" y="73"/>
            <a:chExt cx="2293" cy="817"/>
          </a:xfrm>
        </p:grpSpPr>
        <p:grpSp>
          <p:nvGrpSpPr>
            <p:cNvPr id="24587" name="Group 4"/>
            <p:cNvGrpSpPr>
              <a:grpSpLocks noChangeAspect="1"/>
            </p:cNvGrpSpPr>
            <p:nvPr/>
          </p:nvGrpSpPr>
          <p:grpSpPr bwMode="auto">
            <a:xfrm>
              <a:off x="4513" y="73"/>
              <a:ext cx="855" cy="568"/>
              <a:chOff x="4307" y="328"/>
              <a:chExt cx="964" cy="640"/>
            </a:xfrm>
          </p:grpSpPr>
          <p:pic>
            <p:nvPicPr>
              <p:cNvPr id="2458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0"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grpSp>
        <p:sp>
          <p:nvSpPr>
            <p:cNvPr id="24588"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r" eaLnBrk="1" hangingPunct="1">
                <a:lnSpc>
                  <a:spcPct val="100000"/>
                </a:lnSpc>
                <a:buClrTx/>
                <a:buSzPct val="90000"/>
                <a:buFontTx/>
                <a:buNone/>
              </a:pPr>
              <a:r>
                <a:rPr lang="de-DE" altLang="de-DE" sz="1800">
                  <a:solidFill>
                    <a:srgbClr val="777777"/>
                  </a:solidFill>
                  <a:latin typeface="Arial" pitchFamily="34" charset="0"/>
                </a:rPr>
                <a:t>Solar</a:t>
              </a:r>
              <a:r>
                <a:rPr lang="de-DE" altLang="de-DE" sz="1800" i="1">
                  <a:latin typeface="Arial" pitchFamily="34" charset="0"/>
                </a:rPr>
                <a:t>dynamik</a:t>
              </a:r>
              <a:r>
                <a:rPr lang="de-DE" altLang="de-DE" sz="1800">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24581" name="Rectangle 2"/>
          <p:cNvSpPr>
            <a:spLocks noChangeArrowheads="1"/>
          </p:cNvSpPr>
          <p:nvPr/>
        </p:nvSpPr>
        <p:spPr bwMode="auto">
          <a:xfrm>
            <a:off x="539750" y="1677988"/>
            <a:ext cx="4968875"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nSpc>
                <a:spcPct val="100000"/>
              </a:lnSpc>
              <a:buClrTx/>
              <a:buSzPct val="90000"/>
              <a:buFontTx/>
              <a:buNone/>
            </a:pPr>
            <a:endParaRPr lang="en-US" altLang="de-DE" sz="2000">
              <a:solidFill>
                <a:srgbClr val="394994"/>
              </a:solidFill>
              <a:latin typeface="Arial" pitchFamily="34" charset="0"/>
              <a:cs typeface="Arial" pitchFamily="34" charset="0"/>
            </a:endParaRPr>
          </a:p>
        </p:txBody>
      </p:sp>
      <p:sp>
        <p:nvSpPr>
          <p:cNvPr id="24582" name="Rectangle 15"/>
          <p:cNvSpPr>
            <a:spLocks noChangeArrowheads="1"/>
          </p:cNvSpPr>
          <p:nvPr/>
        </p:nvSpPr>
        <p:spPr bwMode="auto">
          <a:xfrm>
            <a:off x="2736850" y="3861048"/>
            <a:ext cx="2049115" cy="469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nSpc>
                <a:spcPct val="110000"/>
              </a:lnSpc>
              <a:buClr>
                <a:srgbClr val="000000"/>
              </a:buClr>
              <a:buSzPct val="100000"/>
              <a:buFont typeface="Times New Roman" pitchFamily="18" charset="0"/>
              <a:buChar char="•"/>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5pPr>
            <a:lvl6pPr marL="25146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6pPr>
            <a:lvl7pPr marL="29718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7pPr>
            <a:lvl8pPr marL="34290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8pPr>
            <a:lvl9pPr marL="38862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9pPr>
          </a:lstStyle>
          <a:p>
            <a:pPr defTabSz="914400">
              <a:lnSpc>
                <a:spcPct val="100000"/>
              </a:lnSpc>
              <a:spcAft>
                <a:spcPts val="300"/>
              </a:spcAft>
              <a:buClr>
                <a:srgbClr val="394994"/>
              </a:buClr>
              <a:buSzPct val="90000"/>
              <a:buFont typeface="Webdings" pitchFamily="18" charset="2"/>
              <a:buNone/>
            </a:pPr>
            <a:r>
              <a:rPr lang="de-DE" altLang="de-DE" sz="1400" b="0" dirty="0">
                <a:solidFill>
                  <a:srgbClr val="394994"/>
                </a:solidFill>
                <a:latin typeface="Arial" pitchFamily="34" charset="0"/>
                <a:cs typeface="Arial" pitchFamily="34" charset="0"/>
              </a:rPr>
              <a:t>Wolfgang </a:t>
            </a:r>
            <a:r>
              <a:rPr lang="de-DE" altLang="de-DE" sz="1400" b="0" dirty="0" smtClean="0">
                <a:solidFill>
                  <a:srgbClr val="394994"/>
                </a:solidFill>
                <a:latin typeface="Arial" pitchFamily="34" charset="0"/>
                <a:cs typeface="Arial" pitchFamily="34" charset="0"/>
              </a:rPr>
              <a:t>Ackenhausen </a:t>
            </a:r>
            <a:endParaRPr lang="de-DE" altLang="de-DE" sz="1400" b="0" dirty="0">
              <a:solidFill>
                <a:srgbClr val="394994"/>
              </a:solidFill>
              <a:latin typeface="Arial" pitchFamily="34" charset="0"/>
              <a:cs typeface="Arial" pitchFamily="34" charset="0"/>
            </a:endParaRPr>
          </a:p>
          <a:p>
            <a:pPr defTabSz="914400">
              <a:lnSpc>
                <a:spcPct val="100000"/>
              </a:lnSpc>
              <a:spcAft>
                <a:spcPts val="300"/>
              </a:spcAft>
              <a:buClr>
                <a:srgbClr val="394994"/>
              </a:buClr>
              <a:buSzPct val="90000"/>
              <a:buFont typeface="Webdings" pitchFamily="18" charset="2"/>
              <a:buNone/>
            </a:pPr>
            <a:r>
              <a:rPr lang="de-DE" altLang="de-DE" sz="1400" b="0" dirty="0" smtClean="0">
                <a:solidFill>
                  <a:srgbClr val="394994"/>
                </a:solidFill>
                <a:latin typeface="Arial" pitchFamily="34" charset="0"/>
                <a:cs typeface="Arial" pitchFamily="34" charset="0"/>
              </a:rPr>
              <a:t>CTO, GF von</a:t>
            </a:r>
            <a:r>
              <a:rPr lang="de-DE" altLang="de-DE" sz="1400" b="0" dirty="0">
                <a:solidFill>
                  <a:srgbClr val="394994"/>
                </a:solidFill>
                <a:latin typeface="Arial" pitchFamily="34" charset="0"/>
                <a:cs typeface="Arial" pitchFamily="34" charset="0"/>
              </a:rPr>
              <a:t> </a:t>
            </a:r>
            <a:r>
              <a:rPr lang="de-DE" altLang="de-DE" sz="1400" b="0" dirty="0" smtClean="0">
                <a:solidFill>
                  <a:srgbClr val="394994"/>
                </a:solidFill>
                <a:latin typeface="Arial" pitchFamily="34" charset="0"/>
                <a:cs typeface="Arial" pitchFamily="34" charset="0"/>
              </a:rPr>
              <a:t>3SSOLAR</a:t>
            </a:r>
            <a:endParaRPr lang="de-DE" altLang="de-DE" sz="1400" b="0" dirty="0">
              <a:solidFill>
                <a:srgbClr val="394994"/>
              </a:solidFill>
              <a:latin typeface="Arial" pitchFamily="34" charset="0"/>
              <a:cs typeface="Arial" pitchFamily="34" charset="0"/>
            </a:endParaRPr>
          </a:p>
        </p:txBody>
      </p:sp>
      <p:pic>
        <p:nvPicPr>
          <p:cNvPr id="24583" name="Picture 25" descr="KFHarter0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788" y="1930400"/>
            <a:ext cx="1187450" cy="1582738"/>
          </a:xfrm>
          <a:prstGeom prst="rect">
            <a:avLst/>
          </a:prstGeom>
          <a:noFill/>
          <a:ln w="19050">
            <a:solidFill>
              <a:srgbClr val="394994"/>
            </a:solidFill>
            <a:miter lim="800000"/>
            <a:headEnd/>
            <a:tailEnd/>
          </a:ln>
          <a:extLst>
            <a:ext uri="{909E8E84-426E-40DD-AFC4-6F175D3DCCD1}">
              <a14:hiddenFill xmlns:a14="http://schemas.microsoft.com/office/drawing/2010/main">
                <a:solidFill>
                  <a:srgbClr val="FFFFFF"/>
                </a:solidFill>
              </a14:hiddenFill>
            </a:ext>
          </a:extLst>
        </p:spPr>
      </p:pic>
      <p:sp>
        <p:nvSpPr>
          <p:cNvPr id="24584" name="Rectangle 15"/>
          <p:cNvSpPr>
            <a:spLocks noChangeArrowheads="1"/>
          </p:cNvSpPr>
          <p:nvPr/>
        </p:nvSpPr>
        <p:spPr bwMode="auto">
          <a:xfrm>
            <a:off x="573088" y="3848100"/>
            <a:ext cx="2244725"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360000" bIns="0" anchor="ctr">
            <a:spAutoFit/>
          </a:bodyPr>
          <a:lstStyle>
            <a:lvl1pPr>
              <a:lnSpc>
                <a:spcPct val="110000"/>
              </a:lnSpc>
              <a:buClr>
                <a:srgbClr val="000000"/>
              </a:buClr>
              <a:buSzPct val="100000"/>
              <a:buFont typeface="Times New Roman" pitchFamily="18" charset="0"/>
              <a:buChar char="•"/>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5pPr>
            <a:lvl6pPr marL="25146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6pPr>
            <a:lvl7pPr marL="29718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7pPr>
            <a:lvl8pPr marL="34290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8pPr>
            <a:lvl9pPr marL="38862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9pPr>
          </a:lstStyle>
          <a:p>
            <a:pPr defTabSz="914400">
              <a:lnSpc>
                <a:spcPct val="100000"/>
              </a:lnSpc>
              <a:spcAft>
                <a:spcPts val="300"/>
              </a:spcAft>
              <a:buClr>
                <a:srgbClr val="394994"/>
              </a:buClr>
              <a:buSzPct val="90000"/>
              <a:buFont typeface="Webdings" pitchFamily="18" charset="2"/>
              <a:buNone/>
            </a:pPr>
            <a:r>
              <a:rPr lang="de-DE" altLang="de-DE" sz="1400" b="0" dirty="0">
                <a:solidFill>
                  <a:srgbClr val="394994"/>
                </a:solidFill>
                <a:latin typeface="Arial" pitchFamily="34" charset="0"/>
                <a:cs typeface="Arial" pitchFamily="34" charset="0"/>
              </a:rPr>
              <a:t>Karl-Friedrich Harter </a:t>
            </a:r>
          </a:p>
          <a:p>
            <a:pPr defTabSz="914400">
              <a:lnSpc>
                <a:spcPct val="100000"/>
              </a:lnSpc>
              <a:spcAft>
                <a:spcPts val="300"/>
              </a:spcAft>
              <a:buClr>
                <a:srgbClr val="394994"/>
              </a:buClr>
              <a:buSzPct val="90000"/>
              <a:buFont typeface="Webdings" pitchFamily="18" charset="2"/>
              <a:buNone/>
            </a:pPr>
            <a:r>
              <a:rPr lang="de-DE" altLang="de-DE" sz="1400" b="0" dirty="0">
                <a:solidFill>
                  <a:srgbClr val="394994"/>
                </a:solidFill>
                <a:latin typeface="Arial" pitchFamily="34" charset="0"/>
                <a:cs typeface="Arial" pitchFamily="34" charset="0"/>
              </a:rPr>
              <a:t>CEO, Berlin</a:t>
            </a:r>
          </a:p>
          <a:p>
            <a:pPr defTabSz="914400">
              <a:lnSpc>
                <a:spcPct val="100000"/>
              </a:lnSpc>
              <a:spcAft>
                <a:spcPts val="300"/>
              </a:spcAft>
              <a:buClr>
                <a:srgbClr val="394994"/>
              </a:buClr>
              <a:buSzPct val="90000"/>
              <a:buFont typeface="Webdings" pitchFamily="18" charset="2"/>
              <a:buNone/>
            </a:pPr>
            <a:endParaRPr lang="de-DE" altLang="de-DE" sz="1400" b="0" dirty="0">
              <a:solidFill>
                <a:srgbClr val="394994"/>
              </a:solidFill>
              <a:latin typeface="Arial" pitchFamily="34" charset="0"/>
              <a:cs typeface="Arial" pitchFamily="34" charset="0"/>
            </a:endParaRPr>
          </a:p>
          <a:p>
            <a:pPr defTabSz="914400">
              <a:lnSpc>
                <a:spcPct val="100000"/>
              </a:lnSpc>
              <a:spcAft>
                <a:spcPts val="300"/>
              </a:spcAft>
              <a:buClr>
                <a:srgbClr val="394994"/>
              </a:buClr>
              <a:buSzPct val="90000"/>
              <a:buFont typeface="Webdings" pitchFamily="18" charset="2"/>
              <a:buNone/>
            </a:pPr>
            <a:endParaRPr lang="de-DE" altLang="de-DE" sz="1400" b="0" dirty="0">
              <a:solidFill>
                <a:srgbClr val="394994"/>
              </a:solidFill>
              <a:latin typeface="Arial" pitchFamily="34" charset="0"/>
              <a:cs typeface="Arial" pitchFamily="34" charset="0"/>
            </a:endParaRPr>
          </a:p>
        </p:txBody>
      </p:sp>
      <p:pic>
        <p:nvPicPr>
          <p:cNvPr id="24585" name="Picture 29" descr="1d2f63c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3363" y="1895475"/>
            <a:ext cx="1223962" cy="1617663"/>
          </a:xfrm>
          <a:prstGeom prst="rect">
            <a:avLst/>
          </a:prstGeom>
          <a:noFill/>
          <a:ln w="19050">
            <a:solidFill>
              <a:srgbClr val="394994"/>
            </a:solidFill>
            <a:miter lim="800000"/>
            <a:headEnd/>
            <a:tailEnd/>
          </a:ln>
          <a:extLst>
            <a:ext uri="{909E8E84-426E-40DD-AFC4-6F175D3DCCD1}">
              <a14:hiddenFill xmlns:a14="http://schemas.microsoft.com/office/drawing/2010/main">
                <a:solidFill>
                  <a:srgbClr val="FFFFFF"/>
                </a:solidFill>
              </a14:hiddenFill>
            </a:ext>
          </a:extLst>
        </p:spPr>
      </p:pic>
      <p:pic>
        <p:nvPicPr>
          <p:cNvPr id="20" name="Picture 29" descr="1d2f63c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8227" y="1872712"/>
            <a:ext cx="1226314" cy="1620772"/>
          </a:xfrm>
          <a:prstGeom prst="rect">
            <a:avLst/>
          </a:prstGeom>
          <a:noFill/>
          <a:ln w="19050">
            <a:solidFill>
              <a:srgbClr val="394994"/>
            </a:solidFill>
            <a:miter lim="800000"/>
            <a:headEnd/>
            <a:tailEnd/>
          </a:ln>
          <a:extLst>
            <a:ext uri="{909E8E84-426E-40DD-AFC4-6F175D3DCCD1}">
              <a14:hiddenFill xmlns:a14="http://schemas.microsoft.com/office/drawing/2010/main">
                <a:solidFill>
                  <a:srgbClr val="FFFFFF"/>
                </a:solidFill>
              </a14:hiddenFill>
            </a:ext>
          </a:extLst>
        </p:spPr>
      </p:pic>
      <p:sp>
        <p:nvSpPr>
          <p:cNvPr id="21" name="Rectangle 15"/>
          <p:cNvSpPr>
            <a:spLocks noChangeArrowheads="1"/>
          </p:cNvSpPr>
          <p:nvPr/>
        </p:nvSpPr>
        <p:spPr bwMode="auto">
          <a:xfrm>
            <a:off x="4929981" y="3844948"/>
            <a:ext cx="2738363" cy="469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nSpc>
                <a:spcPct val="110000"/>
              </a:lnSpc>
              <a:buClr>
                <a:srgbClr val="000000"/>
              </a:buClr>
              <a:buSzPct val="100000"/>
              <a:buFont typeface="Times New Roman" pitchFamily="18" charset="0"/>
              <a:buChar char="•"/>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5pPr>
            <a:lvl6pPr marL="25146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6pPr>
            <a:lvl7pPr marL="29718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7pPr>
            <a:lvl8pPr marL="34290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8pPr>
            <a:lvl9pPr marL="3886200" indent="-228600" eaLnBrk="0" fontAlgn="base" hangingPunct="0">
              <a:lnSpc>
                <a:spcPct val="110000"/>
              </a:lnSpc>
              <a:spcBef>
                <a:spcPct val="0"/>
              </a:spcBef>
              <a:spcAft>
                <a:spcPct val="0"/>
              </a:spcAft>
              <a:buClr>
                <a:srgbClr val="000000"/>
              </a:buClr>
              <a:buSzPct val="100000"/>
              <a:buFont typeface="Times New Roman" pitchFamily="18" charset="0"/>
              <a:buChar char="»"/>
              <a:defRPr sz="1700">
                <a:solidFill>
                  <a:srgbClr val="6D777D"/>
                </a:solidFill>
                <a:latin typeface="Arial Narrow" pitchFamily="34" charset="0"/>
                <a:ea typeface="MS PGothic" pitchFamily="34" charset="-128"/>
              </a:defRPr>
            </a:lvl9pPr>
          </a:lstStyle>
          <a:p>
            <a:pPr defTabSz="914400">
              <a:lnSpc>
                <a:spcPct val="100000"/>
              </a:lnSpc>
              <a:spcAft>
                <a:spcPts val="300"/>
              </a:spcAft>
              <a:buClr>
                <a:srgbClr val="394994"/>
              </a:buClr>
              <a:buSzPct val="90000"/>
              <a:buFont typeface="Webdings" pitchFamily="18" charset="2"/>
              <a:buNone/>
            </a:pPr>
            <a:r>
              <a:rPr lang="de-DE" altLang="de-DE" sz="1400" b="0" dirty="0" smtClean="0">
                <a:solidFill>
                  <a:srgbClr val="394994"/>
                </a:solidFill>
                <a:latin typeface="Arial" panose="020B0604020202020204" pitchFamily="34" charset="0"/>
                <a:cs typeface="Arial" panose="020B0604020202020204" pitchFamily="34" charset="0"/>
              </a:rPr>
              <a:t>Prof. Dr. Holger Wassermann</a:t>
            </a:r>
            <a:endParaRPr lang="de-DE" altLang="de-DE" sz="1400" b="0" dirty="0">
              <a:solidFill>
                <a:srgbClr val="394994"/>
              </a:solidFill>
              <a:latin typeface="Arial" panose="020B0604020202020204" pitchFamily="34" charset="0"/>
              <a:cs typeface="Arial" panose="020B0604020202020204" pitchFamily="34" charset="0"/>
            </a:endParaRPr>
          </a:p>
          <a:p>
            <a:pPr defTabSz="914400">
              <a:lnSpc>
                <a:spcPct val="100000"/>
              </a:lnSpc>
              <a:spcAft>
                <a:spcPts val="300"/>
              </a:spcAft>
              <a:buClr>
                <a:srgbClr val="394994"/>
              </a:buClr>
              <a:buSzPct val="90000"/>
              <a:buFont typeface="Webdings" pitchFamily="18" charset="2"/>
              <a:buNone/>
            </a:pPr>
            <a:r>
              <a:rPr lang="de-DE" altLang="de-DE" sz="1400" b="0" dirty="0" smtClean="0">
                <a:solidFill>
                  <a:srgbClr val="394994"/>
                </a:solidFill>
                <a:latin typeface="Arial" panose="020B0604020202020204" pitchFamily="34" charset="0"/>
                <a:cs typeface="Arial" panose="020B0604020202020204" pitchFamily="34" charset="0"/>
              </a:rPr>
              <a:t>Beirat (Betriebswirtschaftslehre) </a:t>
            </a:r>
            <a:endParaRPr lang="de-DE" altLang="de-DE" sz="1400" b="0" dirty="0">
              <a:solidFill>
                <a:srgbClr val="394994"/>
              </a:solidFill>
              <a:latin typeface="Arial" panose="020B0604020202020204" pitchFamily="34" charset="0"/>
              <a:cs typeface="Arial" panose="020B0604020202020204" pitchFamily="34" charset="0"/>
            </a:endParaRPr>
          </a:p>
        </p:txBody>
      </p:sp>
      <p:pic>
        <p:nvPicPr>
          <p:cNvPr id="22" name="Grafik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4397" y="1872711"/>
            <a:ext cx="1226314" cy="1663189"/>
          </a:xfrm>
          <a:prstGeom prst="rect">
            <a:avLst/>
          </a:prstGeom>
        </p:spPr>
      </p:pic>
      <p:sp>
        <p:nvSpPr>
          <p:cNvPr id="28" name="Textfeld 27"/>
          <p:cNvSpPr txBox="1"/>
          <p:nvPr/>
        </p:nvSpPr>
        <p:spPr>
          <a:xfrm>
            <a:off x="505898" y="5164414"/>
            <a:ext cx="3491427" cy="1323439"/>
          </a:xfrm>
          <a:prstGeom prst="rect">
            <a:avLst/>
          </a:prstGeom>
          <a:noFill/>
          <a:ln w="19050">
            <a:solidFill>
              <a:srgbClr val="394994"/>
            </a:solidFill>
          </a:ln>
        </p:spPr>
        <p:txBody>
          <a:bodyPr wrap="square" rtlCol="0">
            <a:spAutoFit/>
          </a:bodyPr>
          <a:lstStyle/>
          <a:p>
            <a:pPr>
              <a:lnSpc>
                <a:spcPts val="1640"/>
              </a:lnSpc>
            </a:pPr>
            <a:r>
              <a:rPr lang="en-US" altLang="de-DE" sz="1400" u="sng" dirty="0" err="1" smtClean="0">
                <a:solidFill>
                  <a:srgbClr val="394994"/>
                </a:solidFill>
                <a:latin typeface="+mj-lt"/>
                <a:cs typeface="Arial" pitchFamily="34" charset="0"/>
              </a:rPr>
              <a:t>Aktuelle</a:t>
            </a:r>
            <a:r>
              <a:rPr lang="en-US" altLang="de-DE" sz="1400" u="sng" dirty="0" smtClean="0">
                <a:solidFill>
                  <a:srgbClr val="394994"/>
                </a:solidFill>
                <a:latin typeface="+mj-lt"/>
                <a:cs typeface="Arial" pitchFamily="34" charset="0"/>
              </a:rPr>
              <a:t> FuE - Partner: </a:t>
            </a:r>
            <a:endParaRPr lang="en-US" altLang="de-DE" sz="1400" dirty="0" smtClean="0">
              <a:solidFill>
                <a:srgbClr val="394994"/>
              </a:solidFill>
              <a:latin typeface="+mj-lt"/>
              <a:cs typeface="Arial" pitchFamily="34" charset="0"/>
            </a:endParaRPr>
          </a:p>
          <a:p>
            <a:pPr marL="285750" indent="-285750">
              <a:lnSpc>
                <a:spcPts val="1640"/>
              </a:lnSpc>
              <a:buFont typeface="Arial" panose="020B0604020202020204" pitchFamily="34" charset="0"/>
              <a:buChar char="•"/>
            </a:pPr>
            <a:r>
              <a:rPr lang="en-US" altLang="de-DE" sz="1400" dirty="0" err="1" smtClean="0">
                <a:solidFill>
                  <a:srgbClr val="394994"/>
                </a:solidFill>
                <a:latin typeface="Arial Narrow" panose="020B0606020202030204" pitchFamily="34" charset="0"/>
                <a:cs typeface="Arial" pitchFamily="34" charset="0"/>
              </a:rPr>
              <a:t>Fraunhofer</a:t>
            </a:r>
            <a:r>
              <a:rPr lang="en-US" altLang="de-DE" sz="1400" dirty="0" smtClean="0">
                <a:solidFill>
                  <a:srgbClr val="394994"/>
                </a:solidFill>
                <a:latin typeface="Arial Narrow" panose="020B0606020202030204" pitchFamily="34" charset="0"/>
                <a:cs typeface="Arial" pitchFamily="34" charset="0"/>
              </a:rPr>
              <a:t>  IAP</a:t>
            </a:r>
          </a:p>
          <a:p>
            <a:pPr marL="285750" indent="-285750">
              <a:lnSpc>
                <a:spcPts val="1640"/>
              </a:lnSpc>
              <a:buFont typeface="Arial" panose="020B0604020202020204" pitchFamily="34" charset="0"/>
              <a:buChar char="•"/>
            </a:pPr>
            <a:r>
              <a:rPr lang="en-US" altLang="de-DE" sz="1400" dirty="0" smtClean="0">
                <a:solidFill>
                  <a:srgbClr val="394994"/>
                </a:solidFill>
                <a:latin typeface="Arial Narrow" panose="020B0606020202030204" pitchFamily="34" charset="0"/>
                <a:cs typeface="Arial" pitchFamily="34" charset="0"/>
              </a:rPr>
              <a:t>MTRIZ </a:t>
            </a:r>
            <a:r>
              <a:rPr lang="en-US" altLang="de-DE" sz="1400" dirty="0">
                <a:solidFill>
                  <a:srgbClr val="394994"/>
                </a:solidFill>
                <a:latin typeface="Arial Narrow" panose="020B0606020202030204" pitchFamily="34" charset="0"/>
                <a:cs typeface="Arial" pitchFamily="34" charset="0"/>
              </a:rPr>
              <a:t>Prof. Dr. Dr. sc. </a:t>
            </a:r>
            <a:r>
              <a:rPr lang="en-US" altLang="de-DE" sz="1400" dirty="0" err="1">
                <a:solidFill>
                  <a:srgbClr val="394994"/>
                </a:solidFill>
                <a:latin typeface="Arial Narrow" panose="020B0606020202030204" pitchFamily="34" charset="0"/>
                <a:cs typeface="Arial" pitchFamily="34" charset="0"/>
              </a:rPr>
              <a:t>Techn</a:t>
            </a:r>
            <a:r>
              <a:rPr lang="en-US" altLang="de-DE" sz="1400" dirty="0">
                <a:solidFill>
                  <a:srgbClr val="394994"/>
                </a:solidFill>
                <a:latin typeface="Arial Narrow" panose="020B0606020202030204" pitchFamily="34" charset="0"/>
                <a:cs typeface="Arial" pitchFamily="34" charset="0"/>
              </a:rPr>
              <a:t>. Michael Orloff &amp; </a:t>
            </a:r>
            <a:r>
              <a:rPr lang="en-US" altLang="de-DE" sz="1400" dirty="0" smtClean="0">
                <a:solidFill>
                  <a:srgbClr val="394994"/>
                </a:solidFill>
                <a:latin typeface="Arial Narrow" panose="020B0606020202030204" pitchFamily="34" charset="0"/>
                <a:cs typeface="Arial" pitchFamily="34" charset="0"/>
              </a:rPr>
              <a:t>M.Sc</a:t>
            </a:r>
            <a:r>
              <a:rPr lang="en-US" altLang="de-DE" sz="1400" dirty="0">
                <a:solidFill>
                  <a:srgbClr val="394994"/>
                </a:solidFill>
                <a:latin typeface="Arial Narrow" panose="020B0606020202030204" pitchFamily="34" charset="0"/>
                <a:cs typeface="Arial" pitchFamily="34" charset="0"/>
              </a:rPr>
              <a:t>. Valentina </a:t>
            </a:r>
            <a:r>
              <a:rPr lang="en-US" altLang="de-DE" sz="1400" dirty="0" smtClean="0">
                <a:solidFill>
                  <a:srgbClr val="394994"/>
                </a:solidFill>
                <a:latin typeface="Arial Narrow" panose="020B0606020202030204" pitchFamily="34" charset="0"/>
                <a:cs typeface="Arial" pitchFamily="34" charset="0"/>
              </a:rPr>
              <a:t>Orloff</a:t>
            </a:r>
          </a:p>
          <a:p>
            <a:pPr marL="285750" indent="-285750">
              <a:lnSpc>
                <a:spcPts val="1640"/>
              </a:lnSpc>
              <a:buFont typeface="Arial" panose="020B0604020202020204" pitchFamily="34" charset="0"/>
              <a:buChar char="•"/>
            </a:pPr>
            <a:r>
              <a:rPr lang="en-US" altLang="de-DE" sz="1400" dirty="0" err="1" smtClean="0">
                <a:solidFill>
                  <a:srgbClr val="394994"/>
                </a:solidFill>
                <a:latin typeface="Arial Narrow" panose="020B0606020202030204" pitchFamily="34" charset="0"/>
                <a:cs typeface="Arial" pitchFamily="34" charset="0"/>
              </a:rPr>
              <a:t>Kooperation</a:t>
            </a:r>
            <a:r>
              <a:rPr lang="en-US" altLang="de-DE" sz="1400" dirty="0" smtClean="0">
                <a:solidFill>
                  <a:srgbClr val="394994"/>
                </a:solidFill>
                <a:latin typeface="Arial Narrow" panose="020B0606020202030204" pitchFamily="34" charset="0"/>
                <a:cs typeface="Arial" pitchFamily="34" charset="0"/>
              </a:rPr>
              <a:t> </a:t>
            </a:r>
            <a:r>
              <a:rPr lang="en-US" altLang="de-DE" sz="1400" dirty="0" err="1" smtClean="0">
                <a:solidFill>
                  <a:srgbClr val="394994"/>
                </a:solidFill>
                <a:latin typeface="Arial Narrow" panose="020B0606020202030204" pitchFamily="34" charset="0"/>
                <a:cs typeface="Arial" pitchFamily="34" charset="0"/>
              </a:rPr>
              <a:t>mit</a:t>
            </a:r>
            <a:r>
              <a:rPr lang="en-US" altLang="de-DE" sz="1400" dirty="0" smtClean="0">
                <a:solidFill>
                  <a:srgbClr val="394994"/>
                </a:solidFill>
                <a:latin typeface="Arial Narrow" panose="020B0606020202030204" pitchFamily="34" charset="0"/>
                <a:cs typeface="Arial" pitchFamily="34" charset="0"/>
              </a:rPr>
              <a:t> </a:t>
            </a:r>
            <a:r>
              <a:rPr lang="en-US" altLang="de-DE" sz="1400" dirty="0" err="1" smtClean="0">
                <a:solidFill>
                  <a:srgbClr val="394994"/>
                </a:solidFill>
                <a:latin typeface="Arial Narrow" panose="020B0606020202030204" pitchFamily="34" charset="0"/>
                <a:cs typeface="Arial" pitchFamily="34" charset="0"/>
              </a:rPr>
              <a:t>Universitäten</a:t>
            </a:r>
            <a:endParaRPr lang="en-US" altLang="de-DE" sz="1400" dirty="0" smtClean="0">
              <a:solidFill>
                <a:srgbClr val="394994"/>
              </a:solidFill>
              <a:latin typeface="Arial Narrow" panose="020B0606020202030204" pitchFamily="34" charset="0"/>
              <a:cs typeface="Arial" pitchFamily="34" charset="0"/>
            </a:endParaRPr>
          </a:p>
          <a:p>
            <a:pPr marL="285750" indent="-285750">
              <a:lnSpc>
                <a:spcPts val="1640"/>
              </a:lnSpc>
              <a:buFont typeface="Arial" panose="020B0604020202020204" pitchFamily="34" charset="0"/>
              <a:buChar char="•"/>
            </a:pPr>
            <a:r>
              <a:rPr lang="en-US" altLang="de-DE" sz="1400" dirty="0" smtClean="0">
                <a:solidFill>
                  <a:srgbClr val="394994"/>
                </a:solidFill>
                <a:latin typeface="Arial Narrow" panose="020B0606020202030204" pitchFamily="34" charset="0"/>
                <a:cs typeface="Arial" pitchFamily="34" charset="0"/>
              </a:rPr>
              <a:t>Dr. Oliver Lang, </a:t>
            </a:r>
            <a:r>
              <a:rPr lang="en-US" altLang="de-DE" sz="1400" dirty="0" err="1" smtClean="0">
                <a:solidFill>
                  <a:srgbClr val="394994"/>
                </a:solidFill>
                <a:latin typeface="Arial Narrow" panose="020B0606020202030204" pitchFamily="34" charset="0"/>
                <a:cs typeface="Arial" pitchFamily="34" charset="0"/>
              </a:rPr>
              <a:t>Leichtbausolarmodul</a:t>
            </a:r>
            <a:endParaRPr lang="en-US" altLang="de-DE" sz="1200" dirty="0">
              <a:solidFill>
                <a:srgbClr val="002060"/>
              </a:solidFill>
              <a:latin typeface="Arial Narrow" panose="020B0606020202030204" pitchFamily="34" charset="0"/>
              <a:cs typeface="Arial" pitchFamily="34" charset="0"/>
            </a:endParaRPr>
          </a:p>
        </p:txBody>
      </p:sp>
      <p:sp>
        <p:nvSpPr>
          <p:cNvPr id="29" name="Textfeld 28"/>
          <p:cNvSpPr txBox="1"/>
          <p:nvPr/>
        </p:nvSpPr>
        <p:spPr>
          <a:xfrm>
            <a:off x="4360880" y="5574783"/>
            <a:ext cx="2152975" cy="913070"/>
          </a:xfrm>
          <a:prstGeom prst="rect">
            <a:avLst/>
          </a:prstGeom>
          <a:noFill/>
          <a:ln w="19050">
            <a:solidFill>
              <a:srgbClr val="394994"/>
            </a:solidFill>
          </a:ln>
        </p:spPr>
        <p:txBody>
          <a:bodyPr wrap="square" rtlCol="0">
            <a:spAutoFit/>
          </a:bodyPr>
          <a:lstStyle/>
          <a:p>
            <a:pPr>
              <a:lnSpc>
                <a:spcPts val="1640"/>
              </a:lnSpc>
            </a:pPr>
            <a:r>
              <a:rPr lang="en-US" altLang="de-DE" sz="1400" u="sng" dirty="0" err="1" smtClean="0">
                <a:solidFill>
                  <a:srgbClr val="394994"/>
                </a:solidFill>
                <a:cs typeface="Arial" pitchFamily="34" charset="0"/>
              </a:rPr>
              <a:t>Förderung</a:t>
            </a:r>
            <a:r>
              <a:rPr lang="en-US" altLang="de-DE" sz="1400" u="sng" dirty="0" smtClean="0">
                <a:solidFill>
                  <a:srgbClr val="394994"/>
                </a:solidFill>
                <a:cs typeface="Arial" pitchFamily="34" charset="0"/>
              </a:rPr>
              <a:t>: </a:t>
            </a:r>
            <a:endParaRPr lang="en-US" altLang="de-DE" sz="1400" dirty="0" smtClean="0">
              <a:solidFill>
                <a:srgbClr val="394994"/>
              </a:solidFill>
              <a:cs typeface="Arial" pitchFamily="34" charset="0"/>
            </a:endParaRPr>
          </a:p>
          <a:p>
            <a:pPr marL="285750" indent="-285750">
              <a:lnSpc>
                <a:spcPts val="1640"/>
              </a:lnSpc>
              <a:buFont typeface="Arial" panose="020B0604020202020204" pitchFamily="34" charset="0"/>
              <a:buChar char="•"/>
            </a:pPr>
            <a:r>
              <a:rPr lang="en-US" altLang="de-DE" sz="1400" dirty="0" err="1" smtClean="0">
                <a:solidFill>
                  <a:srgbClr val="394994"/>
                </a:solidFill>
                <a:latin typeface="Arial Narrow" panose="020B0606020202030204" pitchFamily="34" charset="0"/>
                <a:cs typeface="Arial" pitchFamily="34" charset="0"/>
              </a:rPr>
              <a:t>Horizont</a:t>
            </a:r>
            <a:r>
              <a:rPr lang="en-US" altLang="de-DE" sz="1400" dirty="0" smtClean="0">
                <a:solidFill>
                  <a:srgbClr val="394994"/>
                </a:solidFill>
                <a:latin typeface="Arial Narrow" panose="020B0606020202030204" pitchFamily="34" charset="0"/>
                <a:cs typeface="Arial" pitchFamily="34" charset="0"/>
              </a:rPr>
              <a:t> </a:t>
            </a:r>
            <a:r>
              <a:rPr lang="en-US" altLang="de-DE" sz="1400" dirty="0">
                <a:solidFill>
                  <a:srgbClr val="394994"/>
                </a:solidFill>
                <a:latin typeface="Arial Narrow" panose="020B0606020202030204" pitchFamily="34" charset="0"/>
                <a:cs typeface="Arial" pitchFamily="34" charset="0"/>
              </a:rPr>
              <a:t>2020 EU – </a:t>
            </a:r>
            <a:r>
              <a:rPr lang="en-US" altLang="de-DE" sz="1400" dirty="0" smtClean="0">
                <a:solidFill>
                  <a:srgbClr val="394994"/>
                </a:solidFill>
                <a:latin typeface="Arial Narrow" panose="020B0606020202030204" pitchFamily="34" charset="0"/>
                <a:cs typeface="Arial" pitchFamily="34" charset="0"/>
              </a:rPr>
              <a:t>SME</a:t>
            </a:r>
          </a:p>
          <a:p>
            <a:pPr marL="285750" indent="-285750">
              <a:lnSpc>
                <a:spcPts val="1640"/>
              </a:lnSpc>
              <a:buFont typeface="Arial" panose="020B0604020202020204" pitchFamily="34" charset="0"/>
              <a:buChar char="•"/>
            </a:pPr>
            <a:r>
              <a:rPr lang="en-US" altLang="de-DE" sz="1400" dirty="0" smtClean="0">
                <a:solidFill>
                  <a:srgbClr val="394994"/>
                </a:solidFill>
                <a:latin typeface="Arial Narrow" panose="020B0606020202030204" pitchFamily="34" charset="0"/>
                <a:cs typeface="Arial" pitchFamily="34" charset="0"/>
              </a:rPr>
              <a:t>KIC-InnoEnergy</a:t>
            </a:r>
          </a:p>
          <a:p>
            <a:pPr marL="285750" indent="-285750">
              <a:lnSpc>
                <a:spcPts val="1640"/>
              </a:lnSpc>
              <a:buFont typeface="Arial" panose="020B0604020202020204" pitchFamily="34" charset="0"/>
              <a:buChar char="•"/>
            </a:pPr>
            <a:r>
              <a:rPr lang="en-US" altLang="de-DE" sz="1400" dirty="0" err="1" smtClean="0">
                <a:solidFill>
                  <a:srgbClr val="394994"/>
                </a:solidFill>
                <a:latin typeface="Arial Narrow" panose="020B0606020202030204" pitchFamily="34" charset="0"/>
                <a:cs typeface="Arial" pitchFamily="34" charset="0"/>
              </a:rPr>
              <a:t>Investitionsbank</a:t>
            </a:r>
            <a:r>
              <a:rPr lang="en-US" altLang="de-DE" sz="1400" dirty="0" smtClean="0">
                <a:solidFill>
                  <a:srgbClr val="394994"/>
                </a:solidFill>
                <a:latin typeface="Arial Narrow" panose="020B0606020202030204" pitchFamily="34" charset="0"/>
                <a:cs typeface="Arial" pitchFamily="34" charset="0"/>
              </a:rPr>
              <a:t> </a:t>
            </a:r>
            <a:r>
              <a:rPr lang="en-US" altLang="de-DE" sz="1400" dirty="0">
                <a:solidFill>
                  <a:srgbClr val="394994"/>
                </a:solidFill>
                <a:latin typeface="Arial Narrow" panose="020B0606020202030204" pitchFamily="34" charset="0"/>
                <a:cs typeface="Arial" pitchFamily="34" charset="0"/>
              </a:rPr>
              <a:t>Berlin</a:t>
            </a:r>
            <a:endParaRPr lang="en-US" altLang="de-DE" sz="1200" dirty="0">
              <a:solidFill>
                <a:srgbClr val="002060"/>
              </a:solidFill>
              <a:latin typeface="Arial Narrow" panose="020B0606020202030204" pitchFamily="34" charset="0"/>
              <a:cs typeface="Arial" pitchFamily="34" charset="0"/>
            </a:endParaRPr>
          </a:p>
        </p:txBody>
      </p:sp>
      <p:sp>
        <p:nvSpPr>
          <p:cNvPr id="31"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5</a:t>
            </a:r>
            <a:endParaRPr lang="es-ES" dirty="0"/>
          </a:p>
        </p:txBody>
      </p:sp>
    </p:spTree>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sp>
        <p:nvSpPr>
          <p:cNvPr id="26627" name="Text Box 8"/>
          <p:cNvSpPr txBox="1">
            <a:spLocks noChangeArrowheads="1"/>
          </p:cNvSpPr>
          <p:nvPr/>
        </p:nvSpPr>
        <p:spPr bwMode="auto">
          <a:xfrm>
            <a:off x="539750" y="719138"/>
            <a:ext cx="3068638"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360000" bIns="0">
            <a:spAutoFit/>
          </a:bodyPr>
          <a:lstStyle>
            <a:lvl1pPr marL="238125" indent="-238125">
              <a:lnSpc>
                <a:spcPct val="110000"/>
              </a:lnSpc>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1155700" algn="l"/>
                <a:tab pos="2070100" algn="l"/>
                <a:tab pos="2984500" algn="l"/>
                <a:tab pos="3898900" algn="l"/>
                <a:tab pos="4813300" algn="l"/>
                <a:tab pos="5727700" algn="l"/>
                <a:tab pos="6642100" algn="l"/>
                <a:tab pos="7556500" algn="l"/>
                <a:tab pos="8470900" algn="l"/>
                <a:tab pos="9385300" algn="l"/>
                <a:tab pos="10299700" algn="l"/>
              </a:tabLst>
              <a:defRPr sz="1700">
                <a:solidFill>
                  <a:srgbClr val="6D777D"/>
                </a:solidFill>
                <a:latin typeface="Arial Narrow" pitchFamily="34" charset="0"/>
                <a:ea typeface="MS PGothic" pitchFamily="34" charset="-128"/>
              </a:defRPr>
            </a:lvl9pPr>
          </a:lstStyle>
          <a:p>
            <a:pPr eaLnBrk="1" hangingPunct="1">
              <a:lnSpc>
                <a:spcPct val="100000"/>
              </a:lnSpc>
              <a:buClrTx/>
              <a:buSzPct val="90000"/>
              <a:buFontTx/>
              <a:buNone/>
            </a:pPr>
            <a:r>
              <a:rPr lang="de-DE" altLang="de-DE" sz="2000">
                <a:solidFill>
                  <a:srgbClr val="394994"/>
                </a:solidFill>
                <a:latin typeface="Arial" pitchFamily="34" charset="0"/>
              </a:rPr>
              <a:t>Kontakt</a:t>
            </a:r>
          </a:p>
          <a:p>
            <a:pPr eaLnBrk="1" hangingPunct="1">
              <a:lnSpc>
                <a:spcPct val="100000"/>
              </a:lnSpc>
              <a:buClrTx/>
              <a:buSzPct val="90000"/>
              <a:buFontTx/>
              <a:buNone/>
            </a:pPr>
            <a:r>
              <a:rPr lang="de-DE" altLang="de-DE" sz="2000">
                <a:solidFill>
                  <a:srgbClr val="394994"/>
                </a:solidFill>
                <a:latin typeface="Arial" pitchFamily="34" charset="0"/>
              </a:rPr>
              <a:t>Rechtliche Erklärung</a:t>
            </a:r>
            <a:r>
              <a:rPr lang="de-DE" altLang="de-DE" sz="2400">
                <a:solidFill>
                  <a:srgbClr val="394994"/>
                </a:solidFill>
                <a:latin typeface="Arial" pitchFamily="34" charset="0"/>
              </a:rPr>
              <a:t>  </a:t>
            </a:r>
          </a:p>
        </p:txBody>
      </p:sp>
      <p:sp>
        <p:nvSpPr>
          <p:cNvPr id="26628" name="Rectangle 24"/>
          <p:cNvSpPr>
            <a:spLocks noChangeArrowheads="1"/>
          </p:cNvSpPr>
          <p:nvPr/>
        </p:nvSpPr>
        <p:spPr bwMode="auto">
          <a:xfrm>
            <a:off x="684213" y="2349500"/>
            <a:ext cx="457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1" hangingPunct="1">
              <a:buClr>
                <a:srgbClr val="000000"/>
              </a:buClr>
              <a:buSzPct val="100000"/>
              <a:buFont typeface="Times New Roman" pitchFamily="18" charset="0"/>
              <a:buNone/>
            </a:pPr>
            <a:endParaRPr lang="en-US" altLang="de-DE" b="0" dirty="0">
              <a:latin typeface="Arial" pitchFamily="34" charset="0"/>
            </a:endParaRPr>
          </a:p>
          <a:p>
            <a:pPr eaLnBrk="1" hangingPunct="1">
              <a:buClr>
                <a:srgbClr val="000000"/>
              </a:buClr>
              <a:buSzPct val="100000"/>
              <a:buFont typeface="Times New Roman" pitchFamily="18" charset="0"/>
              <a:buNone/>
            </a:pPr>
            <a:r>
              <a:rPr lang="en-US" altLang="de-DE" b="0" dirty="0">
                <a:latin typeface="Arial" pitchFamily="34" charset="0"/>
              </a:rPr>
              <a:t>for renewable energies </a:t>
            </a:r>
          </a:p>
          <a:p>
            <a:pPr eaLnBrk="1" hangingPunct="1">
              <a:buClr>
                <a:srgbClr val="000000"/>
              </a:buClr>
              <a:buSzPct val="100000"/>
              <a:buFont typeface="Times New Roman" pitchFamily="18" charset="0"/>
              <a:buNone/>
            </a:pPr>
            <a:endParaRPr lang="en-US" altLang="de-DE" b="0" dirty="0">
              <a:latin typeface="Arial" pitchFamily="34" charset="0"/>
            </a:endParaRPr>
          </a:p>
          <a:p>
            <a:pPr eaLnBrk="1" hangingPunct="1">
              <a:buClr>
                <a:srgbClr val="000000"/>
              </a:buClr>
              <a:buSzPct val="100000"/>
              <a:buFont typeface="Times New Roman" pitchFamily="18" charset="0"/>
              <a:buNone/>
            </a:pPr>
            <a:r>
              <a:rPr lang="en-US" altLang="de-DE" b="0" dirty="0" err="1">
                <a:latin typeface="Arial" pitchFamily="34" charset="0"/>
              </a:rPr>
              <a:t>Rudower</a:t>
            </a:r>
            <a:r>
              <a:rPr lang="en-US" altLang="de-DE" b="0" dirty="0">
                <a:latin typeface="Arial" pitchFamily="34" charset="0"/>
              </a:rPr>
              <a:t> </a:t>
            </a:r>
            <a:r>
              <a:rPr lang="en-US" altLang="de-DE" b="0" dirty="0" err="1">
                <a:latin typeface="Arial" pitchFamily="34" charset="0"/>
              </a:rPr>
              <a:t>Chaussee</a:t>
            </a:r>
            <a:r>
              <a:rPr lang="en-US" altLang="de-DE" b="0" dirty="0">
                <a:latin typeface="Arial" pitchFamily="34" charset="0"/>
              </a:rPr>
              <a:t> 29</a:t>
            </a:r>
          </a:p>
          <a:p>
            <a:pPr eaLnBrk="1" hangingPunct="1">
              <a:buClr>
                <a:srgbClr val="000000"/>
              </a:buClr>
              <a:buSzPct val="100000"/>
              <a:buFont typeface="Times New Roman" pitchFamily="18" charset="0"/>
              <a:buNone/>
            </a:pPr>
            <a:r>
              <a:rPr lang="en-US" altLang="de-DE" b="0" dirty="0">
                <a:latin typeface="Arial" pitchFamily="34" charset="0"/>
              </a:rPr>
              <a:t>D- 12489 Berlin</a:t>
            </a:r>
          </a:p>
          <a:p>
            <a:pPr eaLnBrk="1" hangingPunct="1">
              <a:buClr>
                <a:srgbClr val="000000"/>
              </a:buClr>
              <a:buSzPct val="100000"/>
              <a:buFont typeface="Times New Roman" pitchFamily="18" charset="0"/>
              <a:buNone/>
            </a:pPr>
            <a:r>
              <a:rPr lang="en-US" altLang="de-DE" b="0" dirty="0">
                <a:latin typeface="Arial" pitchFamily="34" charset="0"/>
              </a:rPr>
              <a:t>Tel. +49-30-120 740 860</a:t>
            </a:r>
          </a:p>
          <a:p>
            <a:pPr eaLnBrk="1" hangingPunct="1">
              <a:buClr>
                <a:srgbClr val="000000"/>
              </a:buClr>
              <a:buSzPct val="100000"/>
              <a:buFont typeface="Times New Roman" pitchFamily="18" charset="0"/>
              <a:buNone/>
            </a:pPr>
            <a:r>
              <a:rPr lang="en-US" altLang="de-DE" b="0" dirty="0">
                <a:latin typeface="Arial" pitchFamily="34" charset="0"/>
              </a:rPr>
              <a:t>Fax +49-30-120 740 </a:t>
            </a:r>
            <a:r>
              <a:rPr lang="en-US" altLang="de-DE" b="0" dirty="0" smtClean="0">
                <a:latin typeface="Arial" pitchFamily="34" charset="0"/>
              </a:rPr>
              <a:t>869</a:t>
            </a:r>
            <a:br>
              <a:rPr lang="en-US" altLang="de-DE" b="0" dirty="0" smtClean="0">
                <a:latin typeface="Arial" pitchFamily="34" charset="0"/>
              </a:rPr>
            </a:br>
            <a:r>
              <a:rPr lang="en-US" altLang="de-DE" b="0" dirty="0" smtClean="0">
                <a:latin typeface="Arial" pitchFamily="34" charset="0"/>
              </a:rPr>
              <a:t>Mobil: 0178 - 4720606</a:t>
            </a:r>
            <a:endParaRPr lang="en-US" altLang="de-DE" b="0" dirty="0">
              <a:latin typeface="Arial" pitchFamily="34" charset="0"/>
            </a:endParaRPr>
          </a:p>
          <a:p>
            <a:pPr eaLnBrk="1" hangingPunct="1">
              <a:buClr>
                <a:srgbClr val="000000"/>
              </a:buClr>
              <a:buSzPct val="100000"/>
              <a:buFont typeface="Times New Roman" pitchFamily="18" charset="0"/>
              <a:buNone/>
            </a:pPr>
            <a:endParaRPr lang="en-US" altLang="de-DE" dirty="0">
              <a:latin typeface="Arial" pitchFamily="34" charset="0"/>
            </a:endParaRPr>
          </a:p>
          <a:p>
            <a:pPr eaLnBrk="1" hangingPunct="1">
              <a:buClr>
                <a:srgbClr val="000000"/>
              </a:buClr>
              <a:buSzPct val="100000"/>
              <a:buFont typeface="Times New Roman" pitchFamily="18" charset="0"/>
              <a:buNone/>
            </a:pPr>
            <a:r>
              <a:rPr lang="en-US" altLang="de-DE" dirty="0" smtClean="0">
                <a:latin typeface="Arial" pitchFamily="34" charset="0"/>
              </a:rPr>
              <a:t>berlin@solardynamik.eu</a:t>
            </a:r>
            <a:endParaRPr lang="en-US" altLang="de-DE" dirty="0">
              <a:latin typeface="Arial" pitchFamily="34" charset="0"/>
            </a:endParaRPr>
          </a:p>
          <a:p>
            <a:pPr eaLnBrk="1" hangingPunct="1">
              <a:buClr>
                <a:srgbClr val="000000"/>
              </a:buClr>
              <a:buSzPct val="100000"/>
              <a:buFont typeface="Times New Roman" pitchFamily="18" charset="0"/>
              <a:buNone/>
            </a:pPr>
            <a:r>
              <a:rPr lang="en-US" altLang="de-DE" dirty="0" smtClean="0">
                <a:latin typeface="Arial" pitchFamily="34" charset="0"/>
              </a:rPr>
              <a:t>www.solardynamik.eu</a:t>
            </a:r>
            <a:endParaRPr lang="en-US" altLang="de-DE" dirty="0">
              <a:latin typeface="Arial" pitchFamily="34" charset="0"/>
            </a:endParaRPr>
          </a:p>
          <a:p>
            <a:pPr eaLnBrk="1" hangingPunct="1">
              <a:buClr>
                <a:srgbClr val="000000"/>
              </a:buClr>
              <a:buSzPct val="100000"/>
              <a:buFont typeface="Times New Roman" pitchFamily="18" charset="0"/>
              <a:buNone/>
            </a:pPr>
            <a:endParaRPr lang="en-US" altLang="de-DE" b="0" dirty="0">
              <a:latin typeface="Arial" pitchFamily="34" charset="0"/>
            </a:endParaRPr>
          </a:p>
        </p:txBody>
      </p:sp>
      <p:sp>
        <p:nvSpPr>
          <p:cNvPr id="26629" name="Rectangle 20"/>
          <p:cNvSpPr>
            <a:spLocks noChangeArrowheads="1"/>
          </p:cNvSpPr>
          <p:nvPr/>
        </p:nvSpPr>
        <p:spPr bwMode="auto">
          <a:xfrm>
            <a:off x="-220663" y="2349500"/>
            <a:ext cx="3640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r" eaLnBrk="1" hangingPunct="1">
              <a:lnSpc>
                <a:spcPct val="100000"/>
              </a:lnSpc>
              <a:buClrTx/>
              <a:buSzPct val="90000"/>
              <a:buFontTx/>
              <a:buNone/>
            </a:pPr>
            <a:r>
              <a:rPr lang="de-DE" altLang="de-DE" sz="2000">
                <a:solidFill>
                  <a:srgbClr val="777777"/>
                </a:solidFill>
                <a:latin typeface="Arial" pitchFamily="34" charset="0"/>
              </a:rPr>
              <a:t>Solar</a:t>
            </a:r>
            <a:r>
              <a:rPr lang="de-DE" altLang="de-DE" sz="2000" i="1">
                <a:latin typeface="Arial" pitchFamily="34" charset="0"/>
              </a:rPr>
              <a:t>dynamik</a:t>
            </a:r>
            <a:r>
              <a:rPr lang="de-DE" altLang="de-DE" sz="2000">
                <a:latin typeface="Arial" pitchFamily="34" charset="0"/>
              </a:rPr>
              <a:t> </a:t>
            </a:r>
            <a:r>
              <a:rPr lang="de-DE" altLang="de-DE" sz="2000">
                <a:solidFill>
                  <a:srgbClr val="777777"/>
                </a:solidFill>
                <a:latin typeface="Arial" pitchFamily="34" charset="0"/>
              </a:rPr>
              <a:t>GmbH</a:t>
            </a:r>
            <a:r>
              <a:rPr lang="de-DE" altLang="de-DE" sz="2000" baseline="50000">
                <a:solidFill>
                  <a:srgbClr val="777777"/>
                </a:solidFill>
                <a:latin typeface="Arial" pitchFamily="34" charset="0"/>
              </a:rPr>
              <a:t>®</a:t>
            </a:r>
          </a:p>
        </p:txBody>
      </p:sp>
      <p:sp>
        <p:nvSpPr>
          <p:cNvPr id="26630" name="Text Box 28"/>
          <p:cNvSpPr txBox="1">
            <a:spLocks noChangeArrowheads="1"/>
          </p:cNvSpPr>
          <p:nvPr/>
        </p:nvSpPr>
        <p:spPr bwMode="auto">
          <a:xfrm>
            <a:off x="3851275" y="2349500"/>
            <a:ext cx="4968875" cy="295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eaLnBrk="1" hangingPunct="1">
              <a:spcBef>
                <a:spcPct val="50000"/>
              </a:spcBef>
              <a:buClr>
                <a:srgbClr val="000000"/>
              </a:buClr>
              <a:buSzPct val="100000"/>
              <a:buFont typeface="Times New Roman" pitchFamily="18" charset="0"/>
              <a:buNone/>
            </a:pPr>
            <a:r>
              <a:rPr lang="de-DE" altLang="de-DE" sz="1200" b="0" dirty="0">
                <a:latin typeface="Arial" pitchFamily="34" charset="0"/>
              </a:rPr>
              <a:t>Die Präsentation und zur Verfügung gestellten Unterlagen beinhalten recherchierte und durch FuE gewonnene Erkenntnisse, daraus werden zukunftsgerichtet Aussagen abgeleitet.</a:t>
            </a:r>
          </a:p>
          <a:p>
            <a:pPr algn="just" eaLnBrk="1" hangingPunct="1">
              <a:spcBef>
                <a:spcPct val="50000"/>
              </a:spcBef>
              <a:buClr>
                <a:srgbClr val="000000"/>
              </a:buClr>
              <a:buSzPct val="100000"/>
              <a:buFont typeface="Times New Roman" pitchFamily="18" charset="0"/>
              <a:buNone/>
            </a:pPr>
            <a:r>
              <a:rPr lang="de-DE" altLang="de-DE" sz="1200" b="0" dirty="0">
                <a:latin typeface="Arial" pitchFamily="34" charset="0"/>
              </a:rPr>
              <a:t>Die derzeitig gewonnenen Erkenntnisse können sich teilweise auf der Grundlage von unscharfen Werten und Annahmen begründen, aus denen sehr ungenaue prognostizierte Aussagen getroffen wurden. Es bestehen unbekannte Risiken, Ungewissheiten und andere Faktoren, für die  übernehmen wir keine Gewährleistung und Verpflichtung zur Aktualisierung einer der </a:t>
            </a:r>
            <a:r>
              <a:rPr lang="de-DE" altLang="de-DE" sz="1200" b="0" dirty="0" err="1" smtClean="0">
                <a:latin typeface="Arial" pitchFamily="34" charset="0"/>
              </a:rPr>
              <a:t>zukunftgerichteten</a:t>
            </a:r>
            <a:r>
              <a:rPr lang="de-DE" altLang="de-DE" sz="1200" b="0" dirty="0" smtClean="0">
                <a:latin typeface="Arial" pitchFamily="34" charset="0"/>
              </a:rPr>
              <a:t> Aussagen. </a:t>
            </a:r>
            <a:r>
              <a:rPr lang="de-DE" altLang="de-DE" sz="1200" b="0" dirty="0">
                <a:latin typeface="Arial" pitchFamily="34" charset="0"/>
              </a:rPr>
              <a:t>Durch eine schriftliche Vertragsübereinkunft können Aussagen rechtlich konkretisiert werden. Durch weitere Ausarbeitungen werden die Erkenntnisse und </a:t>
            </a:r>
            <a:r>
              <a:rPr lang="de-DE" altLang="de-DE" sz="1200" b="0" dirty="0" err="1">
                <a:latin typeface="Arial" pitchFamily="34" charset="0"/>
              </a:rPr>
              <a:t>zukunftsgerichteten</a:t>
            </a:r>
            <a:r>
              <a:rPr lang="de-DE" altLang="de-DE" sz="1200" b="0" dirty="0">
                <a:latin typeface="Arial" pitchFamily="34" charset="0"/>
              </a:rPr>
              <a:t> Aussagen weiter konkretisiert, die daraus abzuleitenden Rechte liegen bei der Solardynamik. Die aus der Präsentation und den zur Verfügung gestellten Unterlagen abzuleitenden Rechte stehen der </a:t>
            </a:r>
            <a:r>
              <a:rPr lang="de-DE" altLang="de-DE" sz="1200" b="0" dirty="0" smtClean="0">
                <a:latin typeface="Arial" pitchFamily="34" charset="0"/>
              </a:rPr>
              <a:t>Solardynamik zu.</a:t>
            </a:r>
            <a:endParaRPr lang="de-DE" altLang="de-DE" sz="1200" b="0" dirty="0">
              <a:latin typeface="Arial" pitchFamily="34" charset="0"/>
            </a:endParaRPr>
          </a:p>
        </p:txBody>
      </p:sp>
      <p:grpSp>
        <p:nvGrpSpPr>
          <p:cNvPr id="26631" name="Group 29"/>
          <p:cNvGrpSpPr>
            <a:grpSpLocks/>
          </p:cNvGrpSpPr>
          <p:nvPr/>
        </p:nvGrpSpPr>
        <p:grpSpPr bwMode="auto">
          <a:xfrm>
            <a:off x="5443538" y="115888"/>
            <a:ext cx="3640137" cy="1296987"/>
            <a:chOff x="3429" y="73"/>
            <a:chExt cx="2293" cy="817"/>
          </a:xfrm>
        </p:grpSpPr>
        <p:grpSp>
          <p:nvGrpSpPr>
            <p:cNvPr id="26632" name="Group 4"/>
            <p:cNvGrpSpPr>
              <a:grpSpLocks noChangeAspect="1"/>
            </p:cNvGrpSpPr>
            <p:nvPr/>
          </p:nvGrpSpPr>
          <p:grpSpPr bwMode="auto">
            <a:xfrm>
              <a:off x="4513" y="73"/>
              <a:ext cx="855" cy="568"/>
              <a:chOff x="4307" y="328"/>
              <a:chExt cx="964" cy="640"/>
            </a:xfrm>
          </p:grpSpPr>
          <p:pic>
            <p:nvPicPr>
              <p:cNvPr id="2663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5"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grpSp>
        <p:sp>
          <p:nvSpPr>
            <p:cNvPr id="26633"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r" eaLnBrk="1" hangingPunct="1">
                <a:lnSpc>
                  <a:spcPct val="100000"/>
                </a:lnSpc>
                <a:buClrTx/>
                <a:buSzPct val="90000"/>
                <a:buFontTx/>
                <a:buNone/>
              </a:pPr>
              <a:r>
                <a:rPr lang="de-DE" altLang="de-DE" sz="1800">
                  <a:solidFill>
                    <a:srgbClr val="777777"/>
                  </a:solidFill>
                  <a:latin typeface="Arial" pitchFamily="34" charset="0"/>
                </a:rPr>
                <a:t>Solar</a:t>
              </a:r>
              <a:r>
                <a:rPr lang="de-DE" altLang="de-DE" sz="1800" i="1">
                  <a:latin typeface="Arial" pitchFamily="34" charset="0"/>
                </a:rPr>
                <a:t>dynamik</a:t>
              </a:r>
              <a:r>
                <a:rPr lang="de-DE" altLang="de-DE" sz="1800">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12"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16</a:t>
            </a:r>
            <a:endParaRPr lang="es-ES" dirty="0"/>
          </a:p>
        </p:txBody>
      </p:sp>
    </p:spTree>
  </p:cSld>
  <p:clrMapOvr>
    <a:masterClrMapping/>
  </p:clrMapOvr>
  <p:transition spd="slow"/>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25"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Problem PV Dächer</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grpSp>
        <p:nvGrpSpPr>
          <p:cNvPr id="11" name="Group 4"/>
          <p:cNvGrpSpPr>
            <a:grpSpLocks/>
          </p:cNvGrpSpPr>
          <p:nvPr/>
        </p:nvGrpSpPr>
        <p:grpSpPr bwMode="auto">
          <a:xfrm>
            <a:off x="526502" y="1861172"/>
            <a:ext cx="2301081" cy="1319610"/>
            <a:chOff x="3267" y="1604"/>
            <a:chExt cx="1813" cy="1133"/>
          </a:xfrm>
        </p:grpSpPr>
        <p:pic>
          <p:nvPicPr>
            <p:cNvPr id="12" name="Picture 5"/>
            <p:cNvPicPr>
              <a:picLocks noChangeAspect="1" noChangeArrowheads="1"/>
            </p:cNvPicPr>
            <p:nvPr/>
          </p:nvPicPr>
          <p:blipFill>
            <a:blip r:embed="rId8">
              <a:lum contrast="12000"/>
              <a:extLst>
                <a:ext uri="{28A0092B-C50C-407E-A947-70E740481C1C}">
                  <a14:useLocalDpi xmlns:a14="http://schemas.microsoft.com/office/drawing/2010/main" val="0"/>
                </a:ext>
              </a:extLst>
            </a:blip>
            <a:srcRect/>
            <a:stretch>
              <a:fillRect/>
            </a:stretch>
          </p:blipFill>
          <p:spPr bwMode="auto">
            <a:xfrm>
              <a:off x="3267" y="1604"/>
              <a:ext cx="1814" cy="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6"/>
            <p:cNvSpPr txBox="1">
              <a:spLocks noChangeArrowheads="1"/>
            </p:cNvSpPr>
            <p:nvPr/>
          </p:nvSpPr>
          <p:spPr bwMode="auto">
            <a:xfrm>
              <a:off x="3267" y="1604"/>
              <a:ext cx="1814" cy="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anose="02020603050405020304" pitchFamily="18" charset="0"/>
                <a:buNone/>
              </a:pPr>
              <a:endParaRPr lang="de-DE" altLang="de-DE" sz="1700"/>
            </a:p>
          </p:txBody>
        </p:sp>
      </p:grpSp>
      <p:sp>
        <p:nvSpPr>
          <p:cNvPr id="16" name="Rectangle 9"/>
          <p:cNvSpPr>
            <a:spLocks noChangeArrowheads="1"/>
          </p:cNvSpPr>
          <p:nvPr/>
        </p:nvSpPr>
        <p:spPr bwMode="auto">
          <a:xfrm>
            <a:off x="467544" y="3872369"/>
            <a:ext cx="4536504" cy="275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360000" bIns="0">
            <a:spAutoFit/>
          </a:bodyPr>
          <a:lstStyle>
            <a:lvl1pPr marL="239713" indent="-239713">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1pPr>
            <a:lvl2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2pPr>
            <a:lvl3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3pPr>
            <a:lvl4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4pPr>
            <a:lvl5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5pPr>
            <a:lvl6pPr marL="25146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6pPr>
            <a:lvl7pPr marL="29718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7pPr>
            <a:lvl8pPr marL="34290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8pPr>
            <a:lvl9pPr marL="38862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9pPr>
          </a:lstStyle>
          <a:p>
            <a:pPr eaLnBrk="1" hangingPunct="1">
              <a:lnSpc>
                <a:spcPts val="1800"/>
              </a:lnSpc>
              <a:spcAft>
                <a:spcPts val="900"/>
              </a:spcAft>
              <a:buClr>
                <a:srgbClr val="394994"/>
              </a:buClr>
              <a:buSzPct val="90000"/>
              <a:buFont typeface="Webdings" panose="05030102010509060703" pitchFamily="18" charset="2"/>
              <a:buChar char=""/>
            </a:pPr>
            <a:r>
              <a:rPr lang="de-DE" altLang="de-DE" b="0" dirty="0">
                <a:solidFill>
                  <a:srgbClr val="394994"/>
                </a:solidFill>
                <a:latin typeface="Arial" panose="020B0604020202020204" pitchFamily="34" charset="0"/>
              </a:rPr>
              <a:t>N</a:t>
            </a:r>
            <a:r>
              <a:rPr lang="de-DE" altLang="de-DE" b="0" dirty="0" smtClean="0">
                <a:solidFill>
                  <a:srgbClr val="394994"/>
                </a:solidFill>
                <a:latin typeface="Arial" panose="020B0604020202020204" pitchFamily="34" charset="0"/>
              </a:rPr>
              <a:t>icht belegbare Leichtbaudächer </a:t>
            </a:r>
          </a:p>
          <a:p>
            <a:pPr eaLnBrk="1" hangingPunct="1">
              <a:lnSpc>
                <a:spcPts val="1800"/>
              </a:lnSpc>
              <a:spcAft>
                <a:spcPts val="900"/>
              </a:spcAft>
              <a:buClr>
                <a:srgbClr val="394994"/>
              </a:buClr>
              <a:buSzPct val="90000"/>
              <a:buFont typeface="Webdings" panose="05030102010509060703" pitchFamily="18" charset="2"/>
              <a:buChar char=""/>
            </a:pPr>
            <a:r>
              <a:rPr lang="de-DE" altLang="de-DE" b="0" dirty="0" smtClean="0">
                <a:solidFill>
                  <a:srgbClr val="394994"/>
                </a:solidFill>
                <a:latin typeface="Arial" panose="020B0604020202020204" pitchFamily="34" charset="0"/>
              </a:rPr>
              <a:t>Hohes </a:t>
            </a:r>
            <a:r>
              <a:rPr lang="de-DE" altLang="de-DE" b="0" dirty="0">
                <a:solidFill>
                  <a:srgbClr val="394994"/>
                </a:solidFill>
                <a:latin typeface="Arial" panose="020B0604020202020204" pitchFamily="34" charset="0"/>
              </a:rPr>
              <a:t>Gewicht bei Metall oder Kunststoff zusätzliche Beschwerung</a:t>
            </a:r>
          </a:p>
          <a:p>
            <a:pPr eaLnBrk="1" hangingPunct="1">
              <a:lnSpc>
                <a:spcPts val="1800"/>
              </a:lnSpc>
              <a:spcAft>
                <a:spcPts val="900"/>
              </a:spcAft>
              <a:buClr>
                <a:srgbClr val="394994"/>
              </a:buClr>
              <a:buSzPct val="90000"/>
              <a:buFont typeface="Webdings" panose="05030102010509060703" pitchFamily="18" charset="2"/>
              <a:buChar char=""/>
            </a:pPr>
            <a:r>
              <a:rPr lang="de-DE" altLang="de-DE" b="0" dirty="0" smtClean="0">
                <a:solidFill>
                  <a:srgbClr val="394994"/>
                </a:solidFill>
                <a:latin typeface="Arial" panose="020B0604020202020204" pitchFamily="34" charset="0"/>
              </a:rPr>
              <a:t>Dachbeschädigung </a:t>
            </a:r>
          </a:p>
          <a:p>
            <a:pPr eaLnBrk="1" hangingPunct="1">
              <a:lnSpc>
                <a:spcPts val="1800"/>
              </a:lnSpc>
              <a:spcAft>
                <a:spcPts val="900"/>
              </a:spcAft>
              <a:buClr>
                <a:srgbClr val="394994"/>
              </a:buClr>
              <a:buSzPct val="90000"/>
              <a:buFont typeface="Webdings" panose="05030102010509060703" pitchFamily="18" charset="2"/>
              <a:buChar char=""/>
            </a:pPr>
            <a:r>
              <a:rPr lang="de-DE" altLang="de-DE" b="0" dirty="0">
                <a:solidFill>
                  <a:srgbClr val="394994"/>
                </a:solidFill>
                <a:latin typeface="Arial" panose="020B0604020202020204" pitchFamily="34" charset="0"/>
              </a:rPr>
              <a:t>K</a:t>
            </a:r>
            <a:r>
              <a:rPr lang="de-DE" altLang="de-DE" b="0" dirty="0" smtClean="0">
                <a:solidFill>
                  <a:srgbClr val="394994"/>
                </a:solidFill>
                <a:latin typeface="Arial" panose="020B0604020202020204" pitchFamily="34" charset="0"/>
              </a:rPr>
              <a:t>ein </a:t>
            </a:r>
            <a:r>
              <a:rPr lang="de-DE" altLang="de-DE" b="0" dirty="0">
                <a:solidFill>
                  <a:srgbClr val="394994"/>
                </a:solidFill>
                <a:latin typeface="Arial" panose="020B0604020202020204" pitchFamily="34" charset="0"/>
              </a:rPr>
              <a:t>Mehrwert, in der Kombination der </a:t>
            </a:r>
            <a:r>
              <a:rPr lang="de-DE" altLang="de-DE" b="0" dirty="0" smtClean="0">
                <a:solidFill>
                  <a:srgbClr val="394994"/>
                </a:solidFill>
                <a:latin typeface="Arial" panose="020B0604020202020204" pitchFamily="34" charset="0"/>
              </a:rPr>
              <a:t>Dachbegrünung  / Dachabdichtung</a:t>
            </a:r>
            <a:endParaRPr lang="de-DE" altLang="de-DE" b="0" dirty="0">
              <a:solidFill>
                <a:srgbClr val="394994"/>
              </a:solidFill>
              <a:latin typeface="Arial" panose="020B0604020202020204" pitchFamily="34" charset="0"/>
            </a:endParaRPr>
          </a:p>
          <a:p>
            <a:pPr eaLnBrk="1" hangingPunct="1">
              <a:lnSpc>
                <a:spcPts val="1800"/>
              </a:lnSpc>
              <a:spcAft>
                <a:spcPts val="900"/>
              </a:spcAft>
              <a:buClr>
                <a:srgbClr val="394994"/>
              </a:buClr>
              <a:buSzPct val="90000"/>
              <a:buFont typeface="Webdings" panose="05030102010509060703" pitchFamily="18" charset="2"/>
              <a:buChar char=""/>
            </a:pPr>
            <a:r>
              <a:rPr lang="de-DE" altLang="de-DE" b="0" dirty="0" smtClean="0">
                <a:solidFill>
                  <a:srgbClr val="394994"/>
                </a:solidFill>
                <a:latin typeface="Arial" panose="020B0604020202020204" pitchFamily="34" charset="0"/>
              </a:rPr>
              <a:t>Hohe Kosten</a:t>
            </a:r>
          </a:p>
          <a:p>
            <a:pPr eaLnBrk="1" hangingPunct="1">
              <a:lnSpc>
                <a:spcPts val="1800"/>
              </a:lnSpc>
              <a:spcAft>
                <a:spcPts val="900"/>
              </a:spcAft>
              <a:buClr>
                <a:srgbClr val="394994"/>
              </a:buClr>
              <a:buSzPct val="90000"/>
              <a:buFont typeface="Webdings" panose="05030102010509060703" pitchFamily="18" charset="2"/>
              <a:buChar char=""/>
            </a:pPr>
            <a:endParaRPr lang="de-DE" altLang="de-DE" sz="1400" dirty="0">
              <a:solidFill>
                <a:srgbClr val="394994"/>
              </a:solidFill>
              <a:latin typeface="Arial" panose="020B0604020202020204" pitchFamily="34" charset="0"/>
            </a:endParaRPr>
          </a:p>
          <a:p>
            <a:pPr eaLnBrk="1" hangingPunct="1">
              <a:buClr>
                <a:srgbClr val="000000"/>
              </a:buClr>
              <a:buSzPct val="100000"/>
              <a:buFont typeface="Times New Roman" panose="02020603050405020304" pitchFamily="18" charset="0"/>
              <a:buNone/>
            </a:pPr>
            <a:endParaRPr lang="en-US" altLang="de-DE" sz="1400" dirty="0">
              <a:solidFill>
                <a:srgbClr val="394994"/>
              </a:solidFill>
              <a:latin typeface="Arial" panose="020B0604020202020204" pitchFamily="34" charset="0"/>
            </a:endParaRPr>
          </a:p>
        </p:txBody>
      </p:sp>
      <p:pic>
        <p:nvPicPr>
          <p:cNvPr id="18" name="Picture 1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52120" y="1806155"/>
            <a:ext cx="2338043" cy="1478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7"/>
          <p:cNvSpPr>
            <a:spLocks noChangeArrowheads="1"/>
          </p:cNvSpPr>
          <p:nvPr/>
        </p:nvSpPr>
        <p:spPr bwMode="auto">
          <a:xfrm>
            <a:off x="5652121" y="3857997"/>
            <a:ext cx="3423618" cy="196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360000" bIns="0">
            <a:spAutoFit/>
          </a:bodyPr>
          <a:lstStyle>
            <a:lvl1pPr marL="239713" indent="-239713">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1pPr>
            <a:lvl2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2pPr>
            <a:lvl3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3pPr>
            <a:lvl4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4pPr>
            <a:lvl5pPr>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5pPr>
            <a:lvl6pPr marL="25146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6pPr>
            <a:lvl7pPr marL="29718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7pPr>
            <a:lvl8pPr marL="34290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8pPr>
            <a:lvl9pPr marL="3886200" indent="-228600" defTabSz="449263" eaLnBrk="0" fontAlgn="base" hangingPunct="0">
              <a:spcBef>
                <a:spcPct val="0"/>
              </a:spcBef>
              <a:spcAft>
                <a:spcPct val="0"/>
              </a:spcAft>
              <a:tabLst>
                <a:tab pos="1154113" algn="l"/>
                <a:tab pos="2068513" algn="l"/>
                <a:tab pos="2982913" algn="l"/>
                <a:tab pos="3897313" algn="l"/>
                <a:tab pos="4811713" algn="l"/>
                <a:tab pos="5726113" algn="l"/>
                <a:tab pos="6640513" algn="l"/>
                <a:tab pos="7554913" algn="l"/>
                <a:tab pos="8469313" algn="l"/>
                <a:tab pos="9383713" algn="l"/>
                <a:tab pos="10298113" algn="l"/>
              </a:tabLst>
              <a:defRPr sz="1600">
                <a:solidFill>
                  <a:schemeClr val="bg1"/>
                </a:solidFill>
                <a:latin typeface="Arial Narrow" panose="020B0606020202030204" pitchFamily="34" charset="0"/>
                <a:ea typeface="MS PGothic" panose="020B0600070205080204" pitchFamily="34" charset="-128"/>
              </a:defRPr>
            </a:lvl9pPr>
          </a:lstStyle>
          <a:p>
            <a:pPr eaLnBrk="1" hangingPunct="1">
              <a:lnSpc>
                <a:spcPts val="1800"/>
              </a:lnSpc>
              <a:spcAft>
                <a:spcPts val="900"/>
              </a:spcAft>
              <a:buClr>
                <a:srgbClr val="394994"/>
              </a:buClr>
              <a:buSzPct val="90000"/>
              <a:buFont typeface="Webdings" panose="05030102010509060703" pitchFamily="18" charset="2"/>
              <a:buChar char=""/>
            </a:pPr>
            <a:r>
              <a:rPr lang="de-DE" altLang="de-DE" b="0" dirty="0">
                <a:solidFill>
                  <a:srgbClr val="394994"/>
                </a:solidFill>
                <a:latin typeface="Arial" panose="020B0604020202020204" pitchFamily="34" charset="0"/>
              </a:rPr>
              <a:t>Hohe </a:t>
            </a:r>
            <a:r>
              <a:rPr lang="de-DE" altLang="de-DE" b="0" dirty="0" smtClean="0">
                <a:solidFill>
                  <a:srgbClr val="394994"/>
                </a:solidFill>
                <a:latin typeface="Arial" panose="020B0604020202020204" pitchFamily="34" charset="0"/>
              </a:rPr>
              <a:t>Kosten entlang der Wertschöpfung</a:t>
            </a:r>
            <a:endParaRPr lang="de-DE" altLang="de-DE" b="0" dirty="0">
              <a:solidFill>
                <a:srgbClr val="394994"/>
              </a:solidFill>
              <a:latin typeface="Arial" panose="020B0604020202020204" pitchFamily="34" charset="0"/>
            </a:endParaRPr>
          </a:p>
          <a:p>
            <a:pPr eaLnBrk="1" hangingPunct="1">
              <a:lnSpc>
                <a:spcPts val="1800"/>
              </a:lnSpc>
              <a:spcAft>
                <a:spcPts val="900"/>
              </a:spcAft>
              <a:buClr>
                <a:srgbClr val="394994"/>
              </a:buClr>
              <a:buSzPct val="90000"/>
              <a:buFont typeface="Webdings" panose="05030102010509060703" pitchFamily="18" charset="2"/>
              <a:buChar char=""/>
            </a:pPr>
            <a:r>
              <a:rPr lang="de-DE" altLang="de-DE" b="0" dirty="0">
                <a:solidFill>
                  <a:srgbClr val="394994"/>
                </a:solidFill>
                <a:latin typeface="Arial" panose="020B0604020202020204" pitchFamily="34" charset="0"/>
              </a:rPr>
              <a:t>N</a:t>
            </a:r>
            <a:r>
              <a:rPr lang="de-DE" altLang="de-DE" b="0" dirty="0" smtClean="0">
                <a:solidFill>
                  <a:srgbClr val="394994"/>
                </a:solidFill>
                <a:latin typeface="Arial" panose="020B0604020202020204" pitchFamily="34" charset="0"/>
              </a:rPr>
              <a:t>icht </a:t>
            </a:r>
            <a:r>
              <a:rPr lang="de-DE" altLang="de-DE" b="0" dirty="0" err="1">
                <a:solidFill>
                  <a:srgbClr val="394994"/>
                </a:solidFill>
                <a:latin typeface="Arial" panose="020B0604020202020204" pitchFamily="34" charset="0"/>
              </a:rPr>
              <a:t>klebbar</a:t>
            </a:r>
            <a:r>
              <a:rPr lang="de-DE" altLang="de-DE" b="0" dirty="0">
                <a:solidFill>
                  <a:srgbClr val="394994"/>
                </a:solidFill>
                <a:latin typeface="Arial" panose="020B0604020202020204" pitchFamily="34" charset="0"/>
              </a:rPr>
              <a:t> oder </a:t>
            </a:r>
            <a:r>
              <a:rPr lang="de-DE" altLang="de-DE" b="0" dirty="0" err="1">
                <a:solidFill>
                  <a:srgbClr val="394994"/>
                </a:solidFill>
                <a:latin typeface="Arial" panose="020B0604020202020204" pitchFamily="34" charset="0"/>
              </a:rPr>
              <a:t>klemmbar</a:t>
            </a:r>
            <a:endParaRPr lang="de-DE" altLang="de-DE" b="0" dirty="0">
              <a:solidFill>
                <a:srgbClr val="394994"/>
              </a:solidFill>
              <a:latin typeface="Arial" panose="020B0604020202020204" pitchFamily="34" charset="0"/>
            </a:endParaRPr>
          </a:p>
          <a:p>
            <a:pPr eaLnBrk="1" hangingPunct="1">
              <a:lnSpc>
                <a:spcPts val="1800"/>
              </a:lnSpc>
              <a:spcAft>
                <a:spcPts val="900"/>
              </a:spcAft>
              <a:buClr>
                <a:srgbClr val="394994"/>
              </a:buClr>
              <a:buSzPct val="90000"/>
              <a:buFont typeface="Webdings" panose="05030102010509060703" pitchFamily="18" charset="2"/>
              <a:buChar char=""/>
            </a:pPr>
            <a:r>
              <a:rPr lang="de-DE" altLang="de-DE" b="0" dirty="0" smtClean="0">
                <a:solidFill>
                  <a:srgbClr val="394994"/>
                </a:solidFill>
                <a:latin typeface="Arial" panose="020B0604020202020204" pitchFamily="34" charset="0"/>
              </a:rPr>
              <a:t>Keine </a:t>
            </a:r>
            <a:r>
              <a:rPr lang="de-DE" altLang="de-DE" b="0" dirty="0">
                <a:solidFill>
                  <a:srgbClr val="394994"/>
                </a:solidFill>
                <a:latin typeface="Arial" panose="020B0604020202020204" pitchFamily="34" charset="0"/>
              </a:rPr>
              <a:t>automatische Sturmsicherung (Hurrikane)</a:t>
            </a:r>
          </a:p>
          <a:p>
            <a:pPr eaLnBrk="1" hangingPunct="1">
              <a:lnSpc>
                <a:spcPts val="1800"/>
              </a:lnSpc>
              <a:spcAft>
                <a:spcPts val="900"/>
              </a:spcAft>
              <a:buClr>
                <a:srgbClr val="394994"/>
              </a:buClr>
              <a:buSzPct val="90000"/>
              <a:buFont typeface="Webdings" panose="05030102010509060703" pitchFamily="18" charset="2"/>
              <a:buChar char=""/>
            </a:pPr>
            <a:r>
              <a:rPr lang="de-DE" altLang="de-DE" b="0" dirty="0" smtClean="0">
                <a:solidFill>
                  <a:srgbClr val="394994"/>
                </a:solidFill>
                <a:latin typeface="Arial" panose="020B0604020202020204" pitchFamily="34" charset="0"/>
              </a:rPr>
              <a:t>Ablehnung u.a. durch  Architekten</a:t>
            </a:r>
            <a:endParaRPr lang="en-US" altLang="de-DE" b="0" dirty="0">
              <a:solidFill>
                <a:srgbClr val="394994"/>
              </a:solidFill>
              <a:latin typeface="Arial" panose="020B0604020202020204" pitchFamily="34" charset="0"/>
            </a:endParaRPr>
          </a:p>
        </p:txBody>
      </p:sp>
      <p:sp>
        <p:nvSpPr>
          <p:cNvPr id="17"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2</a:t>
            </a:r>
            <a:endParaRPr lang="es-ES" dirty="0"/>
          </a:p>
        </p:txBody>
      </p:sp>
    </p:spTree>
    <p:extLst>
      <p:ext uri="{BB962C8B-B14F-4D97-AF65-F5344CB8AC3E}">
        <p14:creationId xmlns:p14="http://schemas.microsoft.com/office/powerpoint/2010/main" val="58354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5291138" y="1988840"/>
            <a:ext cx="3384550" cy="1801812"/>
          </a:xfrm>
          <a:prstGeom prst="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ltLang="de-DE" b="0" dirty="0">
                <a:solidFill>
                  <a:srgbClr val="394994"/>
                </a:solidFill>
                <a:latin typeface="Arial" panose="020B0604020202020204" pitchFamily="34" charset="0"/>
                <a:cs typeface="Arial" panose="020B0604020202020204" pitchFamily="34" charset="0"/>
              </a:rPr>
              <a:t>Nachhaltigere Technologie zur Stromerzeugung mit PV.</a:t>
            </a:r>
          </a:p>
          <a:p>
            <a:pPr algn="ctr">
              <a:defRPr/>
            </a:pPr>
            <a:r>
              <a:rPr lang="de-DE" altLang="de-DE" b="0" dirty="0">
                <a:solidFill>
                  <a:srgbClr val="394994"/>
                </a:solidFill>
                <a:latin typeface="Arial" panose="020B0604020202020204" pitchFamily="34" charset="0"/>
                <a:cs typeface="Arial" panose="020B0604020202020204" pitchFamily="34" charset="0"/>
              </a:rPr>
              <a:t> </a:t>
            </a:r>
          </a:p>
          <a:p>
            <a:pPr algn="ctr">
              <a:buFont typeface="Arial" panose="020B0604020202020204" pitchFamily="34" charset="0"/>
              <a:buChar char="•"/>
              <a:defRPr/>
            </a:pPr>
            <a:r>
              <a:rPr lang="de-DE" altLang="de-DE" b="0" dirty="0">
                <a:solidFill>
                  <a:srgbClr val="394994"/>
                </a:solidFill>
                <a:latin typeface="Arial" panose="020B0604020202020204" pitchFamily="34" charset="0"/>
                <a:cs typeface="Arial" panose="020B0604020202020204" pitchFamily="34" charset="0"/>
              </a:rPr>
              <a:t>Bessere CO</a:t>
            </a:r>
            <a:r>
              <a:rPr lang="de-DE" altLang="de-DE" b="0" baseline="-25000" dirty="0">
                <a:solidFill>
                  <a:srgbClr val="394994"/>
                </a:solidFill>
                <a:latin typeface="Arial" panose="020B0604020202020204" pitchFamily="34" charset="0"/>
                <a:cs typeface="Arial" panose="020B0604020202020204" pitchFamily="34" charset="0"/>
              </a:rPr>
              <a:t>2</a:t>
            </a:r>
            <a:r>
              <a:rPr lang="de-DE" altLang="de-DE" b="0" dirty="0">
                <a:solidFill>
                  <a:srgbClr val="394994"/>
                </a:solidFill>
                <a:latin typeface="Arial" panose="020B0604020202020204" pitchFamily="34" charset="0"/>
                <a:cs typeface="Arial" panose="020B0604020202020204" pitchFamily="34" charset="0"/>
              </a:rPr>
              <a:t> Bilanz</a:t>
            </a:r>
          </a:p>
          <a:p>
            <a:pPr algn="ctr">
              <a:buFont typeface="Arial" panose="020B0604020202020204" pitchFamily="34" charset="0"/>
              <a:buChar char="•"/>
              <a:defRPr/>
            </a:pPr>
            <a:endParaRPr lang="de-DE" altLang="de-DE" b="0" dirty="0">
              <a:solidFill>
                <a:srgbClr val="394994"/>
              </a:solidFill>
              <a:latin typeface="Arial" panose="020B0604020202020204" pitchFamily="34" charset="0"/>
              <a:cs typeface="Arial" panose="020B0604020202020204" pitchFamily="34" charset="0"/>
            </a:endParaRPr>
          </a:p>
          <a:p>
            <a:pPr algn="ctr">
              <a:buFont typeface="Arial" panose="020B0604020202020204" pitchFamily="34" charset="0"/>
              <a:buChar char="•"/>
              <a:defRPr/>
            </a:pPr>
            <a:r>
              <a:rPr lang="de-DE" altLang="de-DE" b="0" dirty="0">
                <a:solidFill>
                  <a:srgbClr val="394994"/>
                </a:solidFill>
                <a:latin typeface="Arial" panose="020B0604020202020204" pitchFamily="34" charset="0"/>
                <a:cs typeface="Arial" panose="020B0604020202020204" pitchFamily="34" charset="0"/>
              </a:rPr>
              <a:t>Ressourceneffizient</a:t>
            </a:r>
          </a:p>
        </p:txBody>
      </p:sp>
      <p:sp>
        <p:nvSpPr>
          <p:cNvPr id="9" name="Textfeld 16"/>
          <p:cNvSpPr txBox="1">
            <a:spLocks noChangeArrowheads="1"/>
          </p:cNvSpPr>
          <p:nvPr/>
        </p:nvSpPr>
        <p:spPr bwMode="auto">
          <a:xfrm>
            <a:off x="1403726" y="5558440"/>
            <a:ext cx="1440000" cy="522000"/>
          </a:xfrm>
          <a:prstGeom prst="rect">
            <a:avLst/>
          </a:prstGeom>
          <a:solidFill>
            <a:srgbClr val="FDF49A"/>
          </a:solidFill>
          <a:ln w="25400">
            <a:solidFill>
              <a:srgbClr val="394994"/>
            </a:solidFill>
            <a:miter lim="800000"/>
            <a:headEnd/>
            <a:tailEnd/>
          </a:ln>
        </p:spPr>
        <p:txBody>
          <a:bodyPr lIns="0" rIns="0" anchor="ctr" anchorCtr="0">
            <a:noAutofit/>
          </a:bodyPr>
          <a:lstStyle/>
          <a:p>
            <a:pPr algn="ctr"/>
            <a:r>
              <a:rPr lang="de-DE" altLang="de-DE" sz="1400" dirty="0" err="1"/>
              <a:t>Recyclebar</a:t>
            </a:r>
            <a:endParaRPr lang="de-DE" altLang="de-DE" sz="1400" dirty="0"/>
          </a:p>
        </p:txBody>
      </p:sp>
      <p:sp>
        <p:nvSpPr>
          <p:cNvPr id="10" name="Textfeld 17"/>
          <p:cNvSpPr txBox="1">
            <a:spLocks noChangeArrowheads="1"/>
          </p:cNvSpPr>
          <p:nvPr/>
        </p:nvSpPr>
        <p:spPr bwMode="auto">
          <a:xfrm>
            <a:off x="2989461" y="5558440"/>
            <a:ext cx="1440000" cy="522000"/>
          </a:xfrm>
          <a:prstGeom prst="rect">
            <a:avLst/>
          </a:prstGeom>
          <a:solidFill>
            <a:srgbClr val="FDF49A"/>
          </a:solidFill>
          <a:ln w="25400">
            <a:solidFill>
              <a:srgbClr val="394994"/>
            </a:solidFill>
            <a:miter lim="800000"/>
            <a:headEnd/>
            <a:tailEnd/>
          </a:ln>
        </p:spPr>
        <p:txBody>
          <a:bodyPr lIns="0" rIns="0" anchor="ctr" anchorCtr="0">
            <a:noAutofit/>
          </a:bodyPr>
          <a:lstStyle/>
          <a:p>
            <a:pPr algn="ctr"/>
            <a:r>
              <a:rPr lang="de-DE" altLang="de-DE" sz="1400" dirty="0"/>
              <a:t>Elastisch</a:t>
            </a:r>
          </a:p>
        </p:txBody>
      </p:sp>
      <p:sp>
        <p:nvSpPr>
          <p:cNvPr id="11" name="Textfeld 18"/>
          <p:cNvSpPr txBox="1">
            <a:spLocks noChangeArrowheads="1"/>
          </p:cNvSpPr>
          <p:nvPr/>
        </p:nvSpPr>
        <p:spPr bwMode="auto">
          <a:xfrm>
            <a:off x="4575195" y="5558440"/>
            <a:ext cx="1440000" cy="523220"/>
          </a:xfrm>
          <a:prstGeom prst="rect">
            <a:avLst/>
          </a:prstGeom>
          <a:solidFill>
            <a:srgbClr val="FDF49A"/>
          </a:solidFill>
          <a:ln w="25400">
            <a:solidFill>
              <a:srgbClr val="394994"/>
            </a:solidFill>
            <a:miter lim="800000"/>
            <a:headEnd/>
            <a:tailEnd/>
          </a:ln>
        </p:spPr>
        <p:txBody>
          <a:bodyPr wrap="square" lIns="36000" rIns="36000">
            <a:spAutoFit/>
          </a:bodyPr>
          <a:lstStyle/>
          <a:p>
            <a:pPr algn="ctr"/>
            <a:r>
              <a:rPr lang="de-DE" altLang="de-DE" sz="1400" dirty="0"/>
              <a:t>Keine Dachbeschädigung</a:t>
            </a:r>
          </a:p>
        </p:txBody>
      </p:sp>
      <p:sp>
        <p:nvSpPr>
          <p:cNvPr id="12" name="Abgerundetes Rechteck 11"/>
          <p:cNvSpPr/>
          <p:nvPr/>
        </p:nvSpPr>
        <p:spPr>
          <a:xfrm>
            <a:off x="2268653" y="2010527"/>
            <a:ext cx="1150937" cy="865188"/>
          </a:xfrm>
          <a:prstGeom prst="roundRect">
            <a:avLst/>
          </a:prstGeom>
          <a:blipFill>
            <a:blip r:embed="rId2"/>
            <a:stretch>
              <a:fillRect/>
            </a:stretch>
          </a:blip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Abgerundetes Rechteck 12"/>
          <p:cNvSpPr/>
          <p:nvPr/>
        </p:nvSpPr>
        <p:spPr>
          <a:xfrm>
            <a:off x="3133593" y="4471639"/>
            <a:ext cx="1170777" cy="871968"/>
          </a:xfrm>
          <a:prstGeom prst="roundRect">
            <a:avLst/>
          </a:prstGeom>
          <a:blipFill>
            <a:blip r:embed="rId3"/>
            <a:stretch>
              <a:fillRect/>
            </a:stretch>
          </a:blip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5"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6" name="Rectangle 3"/>
          <p:cNvSpPr>
            <a:spLocks noChangeArrowheads="1"/>
          </p:cNvSpPr>
          <p:nvPr/>
        </p:nvSpPr>
        <p:spPr bwMode="auto">
          <a:xfrm>
            <a:off x="539750" y="692150"/>
            <a:ext cx="6192838" cy="97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Lösung</a:t>
            </a:r>
            <a:endParaRPr lang="de-DE" altLang="de-DE" sz="2000" dirty="0">
              <a:latin typeface="Arial" pitchFamily="34" charset="0"/>
            </a:endParaRPr>
          </a:p>
        </p:txBody>
      </p:sp>
      <p:grpSp>
        <p:nvGrpSpPr>
          <p:cNvPr id="17" name="Group 20"/>
          <p:cNvGrpSpPr>
            <a:grpSpLocks/>
          </p:cNvGrpSpPr>
          <p:nvPr/>
        </p:nvGrpSpPr>
        <p:grpSpPr bwMode="auto">
          <a:xfrm>
            <a:off x="5435600" y="115888"/>
            <a:ext cx="3640138" cy="1296987"/>
            <a:chOff x="3429" y="73"/>
            <a:chExt cx="2293" cy="817"/>
          </a:xfrm>
        </p:grpSpPr>
        <p:grpSp>
          <p:nvGrpSpPr>
            <p:cNvPr id="18" name="Group 4"/>
            <p:cNvGrpSpPr>
              <a:grpSpLocks noChangeAspect="1"/>
            </p:cNvGrpSpPr>
            <p:nvPr/>
          </p:nvGrpSpPr>
          <p:grpSpPr bwMode="auto">
            <a:xfrm>
              <a:off x="4513" y="73"/>
              <a:ext cx="855" cy="568"/>
              <a:chOff x="4307" y="328"/>
              <a:chExt cx="964" cy="640"/>
            </a:xfrm>
          </p:grpSpPr>
          <p:pic>
            <p:nvPicPr>
              <p:cNvPr id="2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9"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22" name="Textfeld 18"/>
          <p:cNvSpPr txBox="1">
            <a:spLocks noChangeArrowheads="1"/>
          </p:cNvSpPr>
          <p:nvPr/>
        </p:nvSpPr>
        <p:spPr bwMode="auto">
          <a:xfrm>
            <a:off x="537990" y="3090548"/>
            <a:ext cx="1440000" cy="523220"/>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1400" dirty="0"/>
              <a:t>Besseres Nutzen-Kosten-Verhältnis</a:t>
            </a:r>
          </a:p>
        </p:txBody>
      </p:sp>
      <p:sp>
        <p:nvSpPr>
          <p:cNvPr id="23" name="Textfeld 17"/>
          <p:cNvSpPr txBox="1">
            <a:spLocks noChangeArrowheads="1"/>
          </p:cNvSpPr>
          <p:nvPr/>
        </p:nvSpPr>
        <p:spPr bwMode="auto">
          <a:xfrm>
            <a:off x="2123725" y="3090548"/>
            <a:ext cx="1440000" cy="522000"/>
          </a:xfrm>
          <a:prstGeom prst="rect">
            <a:avLst/>
          </a:prstGeom>
          <a:solidFill>
            <a:srgbClr val="FDF49A"/>
          </a:solidFill>
          <a:ln w="25400">
            <a:solidFill>
              <a:srgbClr val="394994"/>
            </a:solidFill>
            <a:miter lim="800000"/>
            <a:headEnd/>
            <a:tailEnd/>
          </a:ln>
        </p:spPr>
        <p:txBody>
          <a:bodyPr lIns="0" rIns="0" anchor="ctr" anchorCtr="0">
            <a:noAutofit/>
          </a:bodyPr>
          <a:lstStyle/>
          <a:p>
            <a:pPr algn="ctr"/>
            <a:r>
              <a:rPr lang="de-DE" altLang="de-DE" sz="1400" dirty="0"/>
              <a:t>Leicht</a:t>
            </a:r>
          </a:p>
        </p:txBody>
      </p:sp>
      <p:grpSp>
        <p:nvGrpSpPr>
          <p:cNvPr id="25" name="Gruppieren 24"/>
          <p:cNvGrpSpPr/>
          <p:nvPr/>
        </p:nvGrpSpPr>
        <p:grpSpPr>
          <a:xfrm>
            <a:off x="677070" y="1976663"/>
            <a:ext cx="1161839" cy="929222"/>
            <a:chOff x="3902150" y="1558397"/>
            <a:chExt cx="1285881" cy="1007791"/>
          </a:xfrm>
        </p:grpSpPr>
        <p:pic>
          <p:nvPicPr>
            <p:cNvPr id="26" name="Grafik 25"/>
            <p:cNvPicPr>
              <a:picLocks noChangeAspect="1"/>
            </p:cNvPicPr>
            <p:nvPr/>
          </p:nvPicPr>
          <p:blipFill>
            <a:blip r:embed="rId5"/>
            <a:stretch>
              <a:fillRect/>
            </a:stretch>
          </p:blipFill>
          <p:spPr>
            <a:xfrm>
              <a:off x="3902150" y="1558397"/>
              <a:ext cx="1285881" cy="1007791"/>
            </a:xfrm>
            <a:prstGeom prst="rect">
              <a:avLst/>
            </a:prstGeom>
          </p:spPr>
        </p:pic>
        <p:grpSp>
          <p:nvGrpSpPr>
            <p:cNvPr id="27" name="Gruppieren 26"/>
            <p:cNvGrpSpPr>
              <a:grpSpLocks noChangeAspect="1"/>
            </p:cNvGrpSpPr>
            <p:nvPr/>
          </p:nvGrpSpPr>
          <p:grpSpPr>
            <a:xfrm rot="21377495">
              <a:off x="3986296" y="1676279"/>
              <a:ext cx="1055532" cy="665245"/>
              <a:chOff x="794038" y="202314"/>
              <a:chExt cx="8519288" cy="5369235"/>
            </a:xfrm>
          </p:grpSpPr>
          <p:sp>
            <p:nvSpPr>
              <p:cNvPr id="30" name="Gleichschenkliges Dreieck 4"/>
              <p:cNvSpPr/>
              <p:nvPr/>
            </p:nvSpPr>
            <p:spPr>
              <a:xfrm rot="1229144">
                <a:off x="7977159" y="202314"/>
                <a:ext cx="1336167" cy="1794788"/>
              </a:xfrm>
              <a:custGeom>
                <a:avLst>
                  <a:gd name="f8" fmla="val 50000"/>
                </a:avLst>
                <a:gdLst>
                  <a:gd name="f1" fmla="val 10800000"/>
                  <a:gd name="f2" fmla="val 5400000"/>
                  <a:gd name="f3" fmla="val 180"/>
                  <a:gd name="f4" fmla="val w"/>
                  <a:gd name="f5" fmla="val h"/>
                  <a:gd name="f6" fmla="val ss"/>
                  <a:gd name="f7" fmla="val 0"/>
                  <a:gd name="f8" fmla="val 50000"/>
                  <a:gd name="f9" fmla="+- 0 0 -360"/>
                  <a:gd name="f10" fmla="+- 0 0 -270"/>
                  <a:gd name="f11" fmla="+- 0 0 -180"/>
                  <a:gd name="f12" fmla="+- 0 0 -90"/>
                  <a:gd name="f13" fmla="abs f4"/>
                  <a:gd name="f14" fmla="abs f5"/>
                  <a:gd name="f15" fmla="abs f6"/>
                  <a:gd name="f16" fmla="val f7"/>
                  <a:gd name="f17" fmla="val f8"/>
                  <a:gd name="f18" fmla="*/ f9 f1 1"/>
                  <a:gd name="f19" fmla="*/ f10 f1 1"/>
                  <a:gd name="f20" fmla="*/ f11 f1 1"/>
                  <a:gd name="f21" fmla="*/ f12 f1 1"/>
                  <a:gd name="f22" fmla="?: f13 f4 1"/>
                  <a:gd name="f23" fmla="?: f14 f5 1"/>
                  <a:gd name="f24" fmla="?: f15 f6 1"/>
                  <a:gd name="f25" fmla="*/ f18 1 f3"/>
                  <a:gd name="f26" fmla="*/ f19 1 f3"/>
                  <a:gd name="f27" fmla="*/ f20 1 f3"/>
                  <a:gd name="f28" fmla="*/ f21 1 f3"/>
                  <a:gd name="f29" fmla="*/ f22 1 21600"/>
                  <a:gd name="f30" fmla="*/ f23 1 21600"/>
                  <a:gd name="f31" fmla="*/ 21600 f22 1"/>
                  <a:gd name="f32" fmla="*/ 21600 f23 1"/>
                  <a:gd name="f33" fmla="+- f25 0 f2"/>
                  <a:gd name="f34" fmla="+- f26 0 f2"/>
                  <a:gd name="f35" fmla="+- f27 0 f2"/>
                  <a:gd name="f36" fmla="+- f28 0 f2"/>
                  <a:gd name="f37" fmla="min f30 f29"/>
                  <a:gd name="f38" fmla="*/ f31 1 f24"/>
                  <a:gd name="f39" fmla="*/ f32 1 f24"/>
                  <a:gd name="f40" fmla="val f38"/>
                  <a:gd name="f41" fmla="val f39"/>
                  <a:gd name="f42" fmla="*/ f16 f37 1"/>
                  <a:gd name="f43" fmla="+- f41 0 f16"/>
                  <a:gd name="f44" fmla="+- f40 0 f16"/>
                  <a:gd name="f45" fmla="*/ f41 f37 1"/>
                  <a:gd name="f46" fmla="*/ f40 f37 1"/>
                  <a:gd name="f47" fmla="*/ f43 1 2"/>
                  <a:gd name="f48" fmla="*/ f44 1 2"/>
                  <a:gd name="f49" fmla="*/ f44 f17 1"/>
                  <a:gd name="f50" fmla="+- f16 f47 0"/>
                  <a:gd name="f51" fmla="*/ f49 1 200000"/>
                  <a:gd name="f52" fmla="*/ f49 1 100000"/>
                  <a:gd name="f53" fmla="+- f51 f48 0"/>
                  <a:gd name="f54" fmla="*/ f51 f37 1"/>
                  <a:gd name="f55" fmla="*/ f50 f37 1"/>
                  <a:gd name="f56" fmla="*/ f52 f37 1"/>
                  <a:gd name="f57" fmla="*/ f53 f37 1"/>
                </a:gdLst>
                <a:ahLst/>
                <a:cxnLst>
                  <a:cxn ang="3cd4">
                    <a:pos x="hc" y="t"/>
                  </a:cxn>
                  <a:cxn ang="0">
                    <a:pos x="r" y="vc"/>
                  </a:cxn>
                  <a:cxn ang="cd4">
                    <a:pos x="hc" y="b"/>
                  </a:cxn>
                  <a:cxn ang="cd2">
                    <a:pos x="l" y="vc"/>
                  </a:cxn>
                  <a:cxn ang="f33">
                    <a:pos x="f56" y="f42"/>
                  </a:cxn>
                  <a:cxn ang="f34">
                    <a:pos x="f54" y="f55"/>
                  </a:cxn>
                  <a:cxn ang="f35">
                    <a:pos x="f42" y="f45"/>
                  </a:cxn>
                  <a:cxn ang="f35">
                    <a:pos x="f56" y="f45"/>
                  </a:cxn>
                  <a:cxn ang="f35">
                    <a:pos x="f46" y="f45"/>
                  </a:cxn>
                  <a:cxn ang="f36">
                    <a:pos x="f57" y="f55"/>
                  </a:cxn>
                </a:cxnLst>
                <a:rect l="f54" t="f55" r="f57" b="f45"/>
                <a:pathLst>
                  <a:path>
                    <a:moveTo>
                      <a:pt x="f42" y="f45"/>
                    </a:moveTo>
                    <a:lnTo>
                      <a:pt x="f56" y="f42"/>
                    </a:lnTo>
                    <a:lnTo>
                      <a:pt x="f46" y="f45"/>
                    </a:lnTo>
                    <a:close/>
                  </a:path>
                </a:pathLst>
              </a:custGeom>
              <a:solidFill>
                <a:srgbClr val="00B050"/>
              </a:solidFill>
              <a:ln w="9528" cap="flat">
                <a:solidFill>
                  <a:srgbClr val="000000"/>
                </a:solidFill>
                <a:prstDash val="solid"/>
                <a:round/>
              </a:ln>
            </p:spPr>
            <p:txBody>
              <a:bodyPr vert="horz" wrap="square" lIns="91440" tIns="45720" rIns="91440" bIns="45720" anchor="t" anchorCtr="0" compatLnSpc="1">
                <a:noAutofit/>
              </a:bodyPr>
              <a:lstStyle/>
              <a:p>
                <a:pPr marL="0" marR="0" lvl="0" indent="0" algn="l" defTabSz="449263"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de-DE" sz="1700" b="0" i="0" u="none" strike="noStrike" kern="1200" cap="none" spc="0" baseline="0">
                  <a:solidFill>
                    <a:srgbClr val="FFFFFF"/>
                  </a:solidFill>
                  <a:uFillTx/>
                  <a:latin typeface="Arial Narrow"/>
                  <a:ea typeface="ＭＳ Ｐゴシック"/>
                </a:endParaRPr>
              </a:p>
            </p:txBody>
          </p:sp>
          <p:sp>
            <p:nvSpPr>
              <p:cNvPr id="31" name="Rechteck 10"/>
              <p:cNvSpPr/>
              <p:nvPr/>
            </p:nvSpPr>
            <p:spPr>
              <a:xfrm rot="19403899">
                <a:off x="794038" y="2593213"/>
                <a:ext cx="8466154" cy="2978336"/>
              </a:xfrm>
              <a:custGeom>
                <a:avLst/>
                <a:gdLst>
                  <a:gd name="connsiteX0" fmla="*/ 0 w 7712972"/>
                  <a:gd name="connsiteY0" fmla="*/ 0 h 705069"/>
                  <a:gd name="connsiteX1" fmla="*/ 7712972 w 7712972"/>
                  <a:gd name="connsiteY1" fmla="*/ 0 h 705069"/>
                  <a:gd name="connsiteX2" fmla="*/ 7712972 w 7712972"/>
                  <a:gd name="connsiteY2" fmla="*/ 705069 h 705069"/>
                  <a:gd name="connsiteX3" fmla="*/ 0 w 7712972"/>
                  <a:gd name="connsiteY3" fmla="*/ 705069 h 705069"/>
                  <a:gd name="connsiteX4" fmla="*/ 0 w 7712972"/>
                  <a:gd name="connsiteY4" fmla="*/ 0 h 705069"/>
                  <a:gd name="connsiteX0" fmla="*/ 0 w 7779538"/>
                  <a:gd name="connsiteY0" fmla="*/ 0 h 860817"/>
                  <a:gd name="connsiteX1" fmla="*/ 7779538 w 7779538"/>
                  <a:gd name="connsiteY1" fmla="*/ 155748 h 860817"/>
                  <a:gd name="connsiteX2" fmla="*/ 7779538 w 7779538"/>
                  <a:gd name="connsiteY2" fmla="*/ 860817 h 860817"/>
                  <a:gd name="connsiteX3" fmla="*/ 66566 w 7779538"/>
                  <a:gd name="connsiteY3" fmla="*/ 860817 h 860817"/>
                  <a:gd name="connsiteX4" fmla="*/ 0 w 7779538"/>
                  <a:gd name="connsiteY4" fmla="*/ 0 h 860817"/>
                  <a:gd name="connsiteX0" fmla="*/ 376971 w 8156509"/>
                  <a:gd name="connsiteY0" fmla="*/ 0 h 860817"/>
                  <a:gd name="connsiteX1" fmla="*/ 8156509 w 8156509"/>
                  <a:gd name="connsiteY1" fmla="*/ 155748 h 860817"/>
                  <a:gd name="connsiteX2" fmla="*/ 8156509 w 8156509"/>
                  <a:gd name="connsiteY2" fmla="*/ 860817 h 860817"/>
                  <a:gd name="connsiteX3" fmla="*/ 0 w 8156509"/>
                  <a:gd name="connsiteY3" fmla="*/ 394715 h 860817"/>
                  <a:gd name="connsiteX4" fmla="*/ 376971 w 8156509"/>
                  <a:gd name="connsiteY4" fmla="*/ 0 h 860817"/>
                  <a:gd name="connsiteX0" fmla="*/ 376971 w 8402679"/>
                  <a:gd name="connsiteY0" fmla="*/ 0 h 1878927"/>
                  <a:gd name="connsiteX1" fmla="*/ 8156509 w 8402679"/>
                  <a:gd name="connsiteY1" fmla="*/ 155748 h 1878927"/>
                  <a:gd name="connsiteX2" fmla="*/ 8402679 w 8402679"/>
                  <a:gd name="connsiteY2" fmla="*/ 1878927 h 1878927"/>
                  <a:gd name="connsiteX3" fmla="*/ 0 w 8402679"/>
                  <a:gd name="connsiteY3" fmla="*/ 394715 h 1878927"/>
                  <a:gd name="connsiteX4" fmla="*/ 376971 w 8402679"/>
                  <a:gd name="connsiteY4" fmla="*/ 0 h 1878927"/>
                  <a:gd name="connsiteX0" fmla="*/ 376971 w 8402679"/>
                  <a:gd name="connsiteY0" fmla="*/ 0 h 1878927"/>
                  <a:gd name="connsiteX1" fmla="*/ 8147963 w 8402679"/>
                  <a:gd name="connsiteY1" fmla="*/ 1455469 h 1878927"/>
                  <a:gd name="connsiteX2" fmla="*/ 8402679 w 8402679"/>
                  <a:gd name="connsiteY2" fmla="*/ 1878927 h 1878927"/>
                  <a:gd name="connsiteX3" fmla="*/ 0 w 8402679"/>
                  <a:gd name="connsiteY3" fmla="*/ 394715 h 1878927"/>
                  <a:gd name="connsiteX4" fmla="*/ 376971 w 8402679"/>
                  <a:gd name="connsiteY4" fmla="*/ 0 h 1878927"/>
                  <a:gd name="connsiteX0" fmla="*/ 376971 w 8402679"/>
                  <a:gd name="connsiteY0" fmla="*/ 0 h 1878927"/>
                  <a:gd name="connsiteX1" fmla="*/ 8157751 w 8402679"/>
                  <a:gd name="connsiteY1" fmla="*/ 1462738 h 1878927"/>
                  <a:gd name="connsiteX2" fmla="*/ 8402679 w 8402679"/>
                  <a:gd name="connsiteY2" fmla="*/ 1878927 h 1878927"/>
                  <a:gd name="connsiteX3" fmla="*/ 0 w 8402679"/>
                  <a:gd name="connsiteY3" fmla="*/ 394715 h 1878927"/>
                  <a:gd name="connsiteX4" fmla="*/ 376971 w 8402679"/>
                  <a:gd name="connsiteY4" fmla="*/ 0 h 1878927"/>
                  <a:gd name="connsiteX0" fmla="*/ 376971 w 8466157"/>
                  <a:gd name="connsiteY0" fmla="*/ 0 h 1895699"/>
                  <a:gd name="connsiteX1" fmla="*/ 8157751 w 8466157"/>
                  <a:gd name="connsiteY1" fmla="*/ 1462738 h 1895699"/>
                  <a:gd name="connsiteX2" fmla="*/ 8466157 w 8466157"/>
                  <a:gd name="connsiteY2" fmla="*/ 1895699 h 1895699"/>
                  <a:gd name="connsiteX3" fmla="*/ 0 w 8466157"/>
                  <a:gd name="connsiteY3" fmla="*/ 394715 h 1895699"/>
                  <a:gd name="connsiteX4" fmla="*/ 376971 w 8466157"/>
                  <a:gd name="connsiteY4" fmla="*/ 0 h 1895699"/>
                  <a:gd name="connsiteX0" fmla="*/ 376971 w 8466157"/>
                  <a:gd name="connsiteY0" fmla="*/ 0 h 1895699"/>
                  <a:gd name="connsiteX1" fmla="*/ 8201654 w 8466157"/>
                  <a:gd name="connsiteY1" fmla="*/ 1464972 h 1895699"/>
                  <a:gd name="connsiteX2" fmla="*/ 8466157 w 8466157"/>
                  <a:gd name="connsiteY2" fmla="*/ 1895699 h 1895699"/>
                  <a:gd name="connsiteX3" fmla="*/ 0 w 8466157"/>
                  <a:gd name="connsiteY3" fmla="*/ 394715 h 1895699"/>
                  <a:gd name="connsiteX4" fmla="*/ 376971 w 8466157"/>
                  <a:gd name="connsiteY4" fmla="*/ 0 h 1895699"/>
                  <a:gd name="connsiteX0" fmla="*/ 376971 w 8466157"/>
                  <a:gd name="connsiteY0" fmla="*/ 0 h 1895699"/>
                  <a:gd name="connsiteX1" fmla="*/ 8157467 w 8466157"/>
                  <a:gd name="connsiteY1" fmla="*/ 1401779 h 1895699"/>
                  <a:gd name="connsiteX2" fmla="*/ 8466157 w 8466157"/>
                  <a:gd name="connsiteY2" fmla="*/ 1895699 h 1895699"/>
                  <a:gd name="connsiteX3" fmla="*/ 0 w 8466157"/>
                  <a:gd name="connsiteY3" fmla="*/ 394715 h 1895699"/>
                  <a:gd name="connsiteX4" fmla="*/ 376971 w 8466157"/>
                  <a:gd name="connsiteY4" fmla="*/ 0 h 1895699"/>
                  <a:gd name="connsiteX0" fmla="*/ 376971 w 8466157"/>
                  <a:gd name="connsiteY0" fmla="*/ 0 h 2731653"/>
                  <a:gd name="connsiteX1" fmla="*/ 8157467 w 8466157"/>
                  <a:gd name="connsiteY1" fmla="*/ 1401779 h 2731653"/>
                  <a:gd name="connsiteX2" fmla="*/ 8466157 w 8466157"/>
                  <a:gd name="connsiteY2" fmla="*/ 1895699 h 2731653"/>
                  <a:gd name="connsiteX3" fmla="*/ 6614490 w 8466157"/>
                  <a:gd name="connsiteY3" fmla="*/ 2729808 h 2731653"/>
                  <a:gd name="connsiteX4" fmla="*/ 0 w 8466157"/>
                  <a:gd name="connsiteY4" fmla="*/ 394715 h 2731653"/>
                  <a:gd name="connsiteX5" fmla="*/ 376971 w 8466157"/>
                  <a:gd name="connsiteY5" fmla="*/ 0 h 2731653"/>
                  <a:gd name="connsiteX0" fmla="*/ 376971 w 8466157"/>
                  <a:gd name="connsiteY0" fmla="*/ 0 h 2890363"/>
                  <a:gd name="connsiteX1" fmla="*/ 8157467 w 8466157"/>
                  <a:gd name="connsiteY1" fmla="*/ 1401779 h 2890363"/>
                  <a:gd name="connsiteX2" fmla="*/ 8466157 w 8466157"/>
                  <a:gd name="connsiteY2" fmla="*/ 1895699 h 2890363"/>
                  <a:gd name="connsiteX3" fmla="*/ 6614490 w 8466157"/>
                  <a:gd name="connsiteY3" fmla="*/ 2729808 h 2890363"/>
                  <a:gd name="connsiteX4" fmla="*/ 0 w 8466157"/>
                  <a:gd name="connsiteY4" fmla="*/ 394715 h 2890363"/>
                  <a:gd name="connsiteX5" fmla="*/ 376971 w 8466157"/>
                  <a:gd name="connsiteY5" fmla="*/ 0 h 2890363"/>
                  <a:gd name="connsiteX0" fmla="*/ 376971 w 8466157"/>
                  <a:gd name="connsiteY0" fmla="*/ 0 h 2890363"/>
                  <a:gd name="connsiteX1" fmla="*/ 5793462 w 8466157"/>
                  <a:gd name="connsiteY1" fmla="*/ 2363011 h 2890363"/>
                  <a:gd name="connsiteX2" fmla="*/ 8157467 w 8466157"/>
                  <a:gd name="connsiteY2" fmla="*/ 1401779 h 2890363"/>
                  <a:gd name="connsiteX3" fmla="*/ 8466157 w 8466157"/>
                  <a:gd name="connsiteY3" fmla="*/ 1895699 h 2890363"/>
                  <a:gd name="connsiteX4" fmla="*/ 6614490 w 8466157"/>
                  <a:gd name="connsiteY4" fmla="*/ 2729808 h 2890363"/>
                  <a:gd name="connsiteX5" fmla="*/ 0 w 8466157"/>
                  <a:gd name="connsiteY5" fmla="*/ 394715 h 2890363"/>
                  <a:gd name="connsiteX6" fmla="*/ 376971 w 8466157"/>
                  <a:gd name="connsiteY6" fmla="*/ 0 h 2890363"/>
                  <a:gd name="connsiteX0" fmla="*/ 376971 w 8466157"/>
                  <a:gd name="connsiteY0" fmla="*/ 0 h 2890363"/>
                  <a:gd name="connsiteX1" fmla="*/ 5795981 w 8466157"/>
                  <a:gd name="connsiteY1" fmla="*/ 2380069 h 2890363"/>
                  <a:gd name="connsiteX2" fmla="*/ 8157467 w 8466157"/>
                  <a:gd name="connsiteY2" fmla="*/ 1401779 h 2890363"/>
                  <a:gd name="connsiteX3" fmla="*/ 8466157 w 8466157"/>
                  <a:gd name="connsiteY3" fmla="*/ 1895699 h 2890363"/>
                  <a:gd name="connsiteX4" fmla="*/ 6614490 w 8466157"/>
                  <a:gd name="connsiteY4" fmla="*/ 2729808 h 2890363"/>
                  <a:gd name="connsiteX5" fmla="*/ 0 w 8466157"/>
                  <a:gd name="connsiteY5" fmla="*/ 394715 h 2890363"/>
                  <a:gd name="connsiteX6" fmla="*/ 376971 w 8466157"/>
                  <a:gd name="connsiteY6" fmla="*/ 0 h 2890363"/>
                  <a:gd name="connsiteX0" fmla="*/ 376971 w 8466157"/>
                  <a:gd name="connsiteY0" fmla="*/ 0 h 2890363"/>
                  <a:gd name="connsiteX1" fmla="*/ 5795981 w 8466157"/>
                  <a:gd name="connsiteY1" fmla="*/ 2380069 h 2890363"/>
                  <a:gd name="connsiteX2" fmla="*/ 8157467 w 8466157"/>
                  <a:gd name="connsiteY2" fmla="*/ 1401779 h 2890363"/>
                  <a:gd name="connsiteX3" fmla="*/ 8466157 w 8466157"/>
                  <a:gd name="connsiteY3" fmla="*/ 1895699 h 2890363"/>
                  <a:gd name="connsiteX4" fmla="*/ 6614490 w 8466157"/>
                  <a:gd name="connsiteY4" fmla="*/ 2729808 h 2890363"/>
                  <a:gd name="connsiteX5" fmla="*/ 0 w 8466157"/>
                  <a:gd name="connsiteY5" fmla="*/ 394715 h 2890363"/>
                  <a:gd name="connsiteX6" fmla="*/ 376971 w 8466157"/>
                  <a:gd name="connsiteY6" fmla="*/ 0 h 2890363"/>
                  <a:gd name="connsiteX0" fmla="*/ 376971 w 8466157"/>
                  <a:gd name="connsiteY0" fmla="*/ 0 h 2890363"/>
                  <a:gd name="connsiteX1" fmla="*/ 5795981 w 8466157"/>
                  <a:gd name="connsiteY1" fmla="*/ 2380069 h 2890363"/>
                  <a:gd name="connsiteX2" fmla="*/ 6915863 w 8466157"/>
                  <a:gd name="connsiteY2" fmla="*/ 1996870 h 2890363"/>
                  <a:gd name="connsiteX3" fmla="*/ 8157467 w 8466157"/>
                  <a:gd name="connsiteY3" fmla="*/ 1401779 h 2890363"/>
                  <a:gd name="connsiteX4" fmla="*/ 8466157 w 8466157"/>
                  <a:gd name="connsiteY4" fmla="*/ 1895699 h 2890363"/>
                  <a:gd name="connsiteX5" fmla="*/ 6614490 w 8466157"/>
                  <a:gd name="connsiteY5" fmla="*/ 2729808 h 2890363"/>
                  <a:gd name="connsiteX6" fmla="*/ 0 w 8466157"/>
                  <a:gd name="connsiteY6" fmla="*/ 394715 h 2890363"/>
                  <a:gd name="connsiteX7" fmla="*/ 376971 w 8466157"/>
                  <a:gd name="connsiteY7" fmla="*/ 0 h 2890363"/>
                  <a:gd name="connsiteX0" fmla="*/ 376971 w 8466157"/>
                  <a:gd name="connsiteY0" fmla="*/ 0 h 2922657"/>
                  <a:gd name="connsiteX1" fmla="*/ 5795981 w 8466157"/>
                  <a:gd name="connsiteY1" fmla="*/ 2380069 h 2922657"/>
                  <a:gd name="connsiteX2" fmla="*/ 6915863 w 8466157"/>
                  <a:gd name="connsiteY2" fmla="*/ 1996870 h 2922657"/>
                  <a:gd name="connsiteX3" fmla="*/ 8157467 w 8466157"/>
                  <a:gd name="connsiteY3" fmla="*/ 1401779 h 2922657"/>
                  <a:gd name="connsiteX4" fmla="*/ 8466157 w 8466157"/>
                  <a:gd name="connsiteY4" fmla="*/ 1895699 h 2922657"/>
                  <a:gd name="connsiteX5" fmla="*/ 6619527 w 8466157"/>
                  <a:gd name="connsiteY5" fmla="*/ 2763922 h 2922657"/>
                  <a:gd name="connsiteX6" fmla="*/ 0 w 8466157"/>
                  <a:gd name="connsiteY6" fmla="*/ 394715 h 2922657"/>
                  <a:gd name="connsiteX7" fmla="*/ 376971 w 8466157"/>
                  <a:gd name="connsiteY7" fmla="*/ 0 h 2922657"/>
                  <a:gd name="connsiteX0" fmla="*/ 376971 w 8466157"/>
                  <a:gd name="connsiteY0" fmla="*/ 0 h 2922657"/>
                  <a:gd name="connsiteX1" fmla="*/ 5795981 w 8466157"/>
                  <a:gd name="connsiteY1" fmla="*/ 2380069 h 2922657"/>
                  <a:gd name="connsiteX2" fmla="*/ 6915863 w 8466157"/>
                  <a:gd name="connsiteY2" fmla="*/ 1996870 h 2922657"/>
                  <a:gd name="connsiteX3" fmla="*/ 8157467 w 8466157"/>
                  <a:gd name="connsiteY3" fmla="*/ 1401779 h 2922657"/>
                  <a:gd name="connsiteX4" fmla="*/ 8466157 w 8466157"/>
                  <a:gd name="connsiteY4" fmla="*/ 1895699 h 2922657"/>
                  <a:gd name="connsiteX5" fmla="*/ 6619527 w 8466157"/>
                  <a:gd name="connsiteY5" fmla="*/ 2763922 h 2922657"/>
                  <a:gd name="connsiteX6" fmla="*/ 0 w 8466157"/>
                  <a:gd name="connsiteY6" fmla="*/ 394715 h 2922657"/>
                  <a:gd name="connsiteX7" fmla="*/ 376971 w 8466157"/>
                  <a:gd name="connsiteY7" fmla="*/ 0 h 2922657"/>
                  <a:gd name="connsiteX0" fmla="*/ 376971 w 8466157"/>
                  <a:gd name="connsiteY0" fmla="*/ 0 h 2922657"/>
                  <a:gd name="connsiteX1" fmla="*/ 5795981 w 8466157"/>
                  <a:gd name="connsiteY1" fmla="*/ 2380069 h 2922657"/>
                  <a:gd name="connsiteX2" fmla="*/ 6915863 w 8466157"/>
                  <a:gd name="connsiteY2" fmla="*/ 1996870 h 2922657"/>
                  <a:gd name="connsiteX3" fmla="*/ 8157467 w 8466157"/>
                  <a:gd name="connsiteY3" fmla="*/ 1401779 h 2922657"/>
                  <a:gd name="connsiteX4" fmla="*/ 8466157 w 8466157"/>
                  <a:gd name="connsiteY4" fmla="*/ 1895699 h 2922657"/>
                  <a:gd name="connsiteX5" fmla="*/ 6619527 w 8466157"/>
                  <a:gd name="connsiteY5" fmla="*/ 2763922 h 2922657"/>
                  <a:gd name="connsiteX6" fmla="*/ 0 w 8466157"/>
                  <a:gd name="connsiteY6" fmla="*/ 394715 h 2922657"/>
                  <a:gd name="connsiteX7" fmla="*/ 376971 w 8466157"/>
                  <a:gd name="connsiteY7" fmla="*/ 0 h 2922657"/>
                  <a:gd name="connsiteX0" fmla="*/ 376971 w 8466157"/>
                  <a:gd name="connsiteY0" fmla="*/ 0 h 2978344"/>
                  <a:gd name="connsiteX1" fmla="*/ 5795981 w 8466157"/>
                  <a:gd name="connsiteY1" fmla="*/ 2380069 h 2978344"/>
                  <a:gd name="connsiteX2" fmla="*/ 6915863 w 8466157"/>
                  <a:gd name="connsiteY2" fmla="*/ 1996870 h 2978344"/>
                  <a:gd name="connsiteX3" fmla="*/ 8157467 w 8466157"/>
                  <a:gd name="connsiteY3" fmla="*/ 1401779 h 2978344"/>
                  <a:gd name="connsiteX4" fmla="*/ 8466157 w 8466157"/>
                  <a:gd name="connsiteY4" fmla="*/ 1895699 h 2978344"/>
                  <a:gd name="connsiteX5" fmla="*/ 6575910 w 8466157"/>
                  <a:gd name="connsiteY5" fmla="*/ 2822649 h 2978344"/>
                  <a:gd name="connsiteX6" fmla="*/ 0 w 8466157"/>
                  <a:gd name="connsiteY6" fmla="*/ 394715 h 2978344"/>
                  <a:gd name="connsiteX7" fmla="*/ 376971 w 8466157"/>
                  <a:gd name="connsiteY7" fmla="*/ 0 h 2978344"/>
                  <a:gd name="connsiteX0" fmla="*/ 376971 w 8466157"/>
                  <a:gd name="connsiteY0" fmla="*/ 0 h 2978344"/>
                  <a:gd name="connsiteX1" fmla="*/ 5795981 w 8466157"/>
                  <a:gd name="connsiteY1" fmla="*/ 2380069 h 2978344"/>
                  <a:gd name="connsiteX2" fmla="*/ 6915863 w 8466157"/>
                  <a:gd name="connsiteY2" fmla="*/ 1996870 h 2978344"/>
                  <a:gd name="connsiteX3" fmla="*/ 8157467 w 8466157"/>
                  <a:gd name="connsiteY3" fmla="*/ 1401779 h 2978344"/>
                  <a:gd name="connsiteX4" fmla="*/ 8466157 w 8466157"/>
                  <a:gd name="connsiteY4" fmla="*/ 1895699 h 2978344"/>
                  <a:gd name="connsiteX5" fmla="*/ 6575910 w 8466157"/>
                  <a:gd name="connsiteY5" fmla="*/ 2822649 h 2978344"/>
                  <a:gd name="connsiteX6" fmla="*/ 0 w 8466157"/>
                  <a:gd name="connsiteY6" fmla="*/ 394715 h 2978344"/>
                  <a:gd name="connsiteX7" fmla="*/ 376971 w 8466157"/>
                  <a:gd name="connsiteY7" fmla="*/ 0 h 2978344"/>
                  <a:gd name="connsiteX0" fmla="*/ 376971 w 8466157"/>
                  <a:gd name="connsiteY0" fmla="*/ 0 h 2978344"/>
                  <a:gd name="connsiteX1" fmla="*/ 5795981 w 8466157"/>
                  <a:gd name="connsiteY1" fmla="*/ 2380069 h 2978344"/>
                  <a:gd name="connsiteX2" fmla="*/ 6915863 w 8466157"/>
                  <a:gd name="connsiteY2" fmla="*/ 1996870 h 2978344"/>
                  <a:gd name="connsiteX3" fmla="*/ 8157467 w 8466157"/>
                  <a:gd name="connsiteY3" fmla="*/ 1401779 h 2978344"/>
                  <a:gd name="connsiteX4" fmla="*/ 8466157 w 8466157"/>
                  <a:gd name="connsiteY4" fmla="*/ 1895699 h 2978344"/>
                  <a:gd name="connsiteX5" fmla="*/ 6575910 w 8466157"/>
                  <a:gd name="connsiteY5" fmla="*/ 2822649 h 2978344"/>
                  <a:gd name="connsiteX6" fmla="*/ 0 w 8466157"/>
                  <a:gd name="connsiteY6" fmla="*/ 394715 h 2978344"/>
                  <a:gd name="connsiteX7" fmla="*/ 376971 w 8466157"/>
                  <a:gd name="connsiteY7" fmla="*/ 0 h 29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66157" h="2978344">
                    <a:moveTo>
                      <a:pt x="376971" y="0"/>
                    </a:moveTo>
                    <a:cubicBezTo>
                      <a:pt x="2714756" y="418602"/>
                      <a:pt x="4509379" y="2529576"/>
                      <a:pt x="5795981" y="2380069"/>
                    </a:cubicBezTo>
                    <a:cubicBezTo>
                      <a:pt x="6082041" y="2369790"/>
                      <a:pt x="6523279" y="2171023"/>
                      <a:pt x="6915863" y="1996870"/>
                    </a:cubicBezTo>
                    <a:lnTo>
                      <a:pt x="8157467" y="1401779"/>
                    </a:lnTo>
                    <a:lnTo>
                      <a:pt x="8466157" y="1895699"/>
                    </a:lnTo>
                    <a:cubicBezTo>
                      <a:pt x="8192849" y="1847002"/>
                      <a:pt x="7138334" y="2645657"/>
                      <a:pt x="6575910" y="2822649"/>
                    </a:cubicBezTo>
                    <a:cubicBezTo>
                      <a:pt x="4602761" y="3613547"/>
                      <a:pt x="2204830" y="1173079"/>
                      <a:pt x="0" y="394715"/>
                    </a:cubicBezTo>
                    <a:lnTo>
                      <a:pt x="376971" y="0"/>
                    </a:lnTo>
                    <a:close/>
                  </a:path>
                </a:pathLst>
              </a:custGeom>
              <a:gradFill flip="none" rotWithShape="1">
                <a:gsLst>
                  <a:gs pos="29000">
                    <a:srgbClr val="FF0000"/>
                  </a:gs>
                  <a:gs pos="43000">
                    <a:srgbClr val="FF0000"/>
                  </a:gs>
                  <a:gs pos="89000">
                    <a:srgbClr val="00B050"/>
                  </a:gs>
                  <a:gs pos="34000">
                    <a:srgbClr val="FF0000"/>
                  </a:gs>
                  <a:gs pos="69000">
                    <a:srgbClr val="00B050"/>
                  </a:gs>
                  <a:gs pos="83000">
                    <a:srgbClr val="00B050"/>
                  </a:gs>
                  <a:gs pos="100000">
                    <a:srgbClr val="00B05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8" name="Rechteck 27"/>
            <p:cNvSpPr/>
            <p:nvPr/>
          </p:nvSpPr>
          <p:spPr>
            <a:xfrm>
              <a:off x="4006045" y="1628800"/>
              <a:ext cx="857635" cy="300420"/>
            </a:xfrm>
            <a:prstGeom prst="rect">
              <a:avLst/>
            </a:prstGeom>
            <a:noFill/>
            <a:effectLst>
              <a:innerShdw blurRad="63500" dist="50800" dir="18900000">
                <a:prstClr val="black">
                  <a:alpha val="50000"/>
                </a:prstClr>
              </a:innerShdw>
            </a:effectLst>
          </p:spPr>
          <p:txBody>
            <a:bodyPr wrap="square" lIns="91440" tIns="45720" rIns="91440" bIns="45720">
              <a:spAutoFit/>
            </a:bodyPr>
            <a:lstStyle/>
            <a:p>
              <a:pPr algn="ctr"/>
              <a:r>
                <a:rPr lang="de-DE" sz="1200" b="1" cap="none" spc="0" dirty="0" smtClean="0">
                  <a:ln w="0"/>
                  <a:solidFill>
                    <a:schemeClr val="accent6">
                      <a:lumMod val="75000"/>
                    </a:schemeClr>
                  </a:solidFill>
                  <a:effectLst>
                    <a:outerShdw blurRad="38100" dist="19050" dir="2700000" algn="tl" rotWithShape="0">
                      <a:schemeClr val="dk1">
                        <a:alpha val="40000"/>
                      </a:schemeClr>
                    </a:outerShdw>
                  </a:effectLst>
                </a:rPr>
                <a:t>Nutzen</a:t>
              </a:r>
              <a:endParaRPr lang="de-DE" sz="1200" b="1" cap="none" spc="0" dirty="0">
                <a:ln w="0"/>
                <a:solidFill>
                  <a:schemeClr val="accent6">
                    <a:lumMod val="75000"/>
                  </a:schemeClr>
                </a:solidFill>
                <a:effectLst>
                  <a:outerShdw blurRad="38100" dist="19050" dir="2700000" algn="tl" rotWithShape="0">
                    <a:schemeClr val="dk1">
                      <a:alpha val="40000"/>
                    </a:schemeClr>
                  </a:outerShdw>
                </a:effectLst>
              </a:endParaRPr>
            </a:p>
          </p:txBody>
        </p:sp>
        <p:sp>
          <p:nvSpPr>
            <p:cNvPr id="29" name="Rechteck 28"/>
            <p:cNvSpPr/>
            <p:nvPr/>
          </p:nvSpPr>
          <p:spPr>
            <a:xfrm>
              <a:off x="4248294" y="2265768"/>
              <a:ext cx="874374" cy="300420"/>
            </a:xfrm>
            <a:prstGeom prst="rect">
              <a:avLst/>
            </a:prstGeom>
            <a:noFill/>
            <a:ln>
              <a:noFill/>
            </a:ln>
            <a:effectLst>
              <a:innerShdw blurRad="63500" dist="50800" dir="18900000">
                <a:prstClr val="black">
                  <a:alpha val="50000"/>
                </a:prstClr>
              </a:innerShdw>
            </a:effectLst>
          </p:spPr>
          <p:txBody>
            <a:bodyPr wrap="square" lIns="91440" tIns="45720" rIns="91440" bIns="45720">
              <a:spAutoFit/>
            </a:bodyPr>
            <a:lstStyle/>
            <a:p>
              <a:pPr algn="ctr"/>
              <a:r>
                <a:rPr lang="de-DE" sz="1200" b="1" cap="none" spc="0" dirty="0" smtClean="0">
                  <a:ln w="0"/>
                  <a:solidFill>
                    <a:srgbClr val="FF0000"/>
                  </a:solidFill>
                  <a:effectLst>
                    <a:outerShdw blurRad="38100" dist="19050" dir="2700000" algn="tl" rotWithShape="0">
                      <a:schemeClr val="dk1">
                        <a:alpha val="40000"/>
                      </a:schemeClr>
                    </a:outerShdw>
                  </a:effectLst>
                </a:rPr>
                <a:t>Kosten</a:t>
              </a:r>
              <a:endParaRPr lang="de-DE" sz="1200" b="1" cap="none" spc="0" dirty="0">
                <a:ln w="0"/>
                <a:solidFill>
                  <a:srgbClr val="FF0000"/>
                </a:solidFill>
                <a:effectLst>
                  <a:outerShdw blurRad="38100" dist="19050" dir="2700000" algn="tl" rotWithShape="0">
                    <a:schemeClr val="dk1">
                      <a:alpha val="40000"/>
                    </a:schemeClr>
                  </a:outerShdw>
                </a:effectLst>
              </a:endParaRPr>
            </a:p>
          </p:txBody>
        </p:sp>
      </p:grpSp>
      <p:grpSp>
        <p:nvGrpSpPr>
          <p:cNvPr id="32" name="Gruppieren 31"/>
          <p:cNvGrpSpPr/>
          <p:nvPr/>
        </p:nvGrpSpPr>
        <p:grpSpPr>
          <a:xfrm>
            <a:off x="1480784" y="4405590"/>
            <a:ext cx="1285881" cy="1007791"/>
            <a:chOff x="7361515" y="3554646"/>
            <a:chExt cx="1285881" cy="1007791"/>
          </a:xfrm>
        </p:grpSpPr>
        <p:pic>
          <p:nvPicPr>
            <p:cNvPr id="33" name="Grafik 32"/>
            <p:cNvPicPr>
              <a:picLocks noChangeAspect="1"/>
            </p:cNvPicPr>
            <p:nvPr/>
          </p:nvPicPr>
          <p:blipFill>
            <a:blip r:embed="rId5"/>
            <a:stretch>
              <a:fillRect/>
            </a:stretch>
          </p:blipFill>
          <p:spPr>
            <a:xfrm>
              <a:off x="7361515" y="3554646"/>
              <a:ext cx="1285881" cy="1007791"/>
            </a:xfrm>
            <a:prstGeom prst="rect">
              <a:avLst/>
            </a:prstGeom>
          </p:spPr>
        </p:pic>
        <p:grpSp>
          <p:nvGrpSpPr>
            <p:cNvPr id="34" name="Gruppieren 33"/>
            <p:cNvGrpSpPr/>
            <p:nvPr/>
          </p:nvGrpSpPr>
          <p:grpSpPr>
            <a:xfrm>
              <a:off x="7428391" y="3588170"/>
              <a:ext cx="1152128" cy="914774"/>
              <a:chOff x="5849808" y="3539540"/>
              <a:chExt cx="1111862" cy="959026"/>
            </a:xfrm>
          </p:grpSpPr>
          <p:sp>
            <p:nvSpPr>
              <p:cNvPr id="35" name="Abgerundetes Rechteck 31"/>
              <p:cNvSpPr/>
              <p:nvPr/>
            </p:nvSpPr>
            <p:spPr>
              <a:xfrm>
                <a:off x="5849808" y="3539540"/>
                <a:ext cx="1111862" cy="959026"/>
              </a:xfrm>
              <a:custGeom>
                <a:avLst>
                  <a:gd name="f0" fmla="val 360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blipFill>
                <a:blip r:embed="rId6">
                  <a:alphaModFix/>
                </a:blip>
                <a:stretch>
                  <a:fillRect/>
                </a:stretch>
              </a:blipFill>
              <a:ln w="12701" cap="flat">
                <a:solidFill>
                  <a:srgbClr val="394994"/>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de-DE" sz="1800" b="0" i="0" u="none" strike="noStrike" kern="1200" cap="none" spc="0" baseline="0">
                    <a:solidFill>
                      <a:srgbClr val="394994"/>
                    </a:solidFill>
                    <a:uFillTx/>
                    <a:latin typeface="Calibri"/>
                  </a:rPr>
                  <a:t>                                                         </a:t>
                </a:r>
              </a:p>
            </p:txBody>
          </p:sp>
          <p:sp>
            <p:nvSpPr>
              <p:cNvPr id="36" name="Ellipse 19"/>
              <p:cNvSpPr/>
              <p:nvPr/>
            </p:nvSpPr>
            <p:spPr>
              <a:xfrm>
                <a:off x="5923925" y="3618204"/>
                <a:ext cx="989240" cy="826497"/>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adFill>
                <a:gsLst>
                  <a:gs pos="60000">
                    <a:srgbClr val="70AD47">
                      <a:alpha val="37000"/>
                    </a:srgbClr>
                  </a:gs>
                  <a:gs pos="100000">
                    <a:srgbClr val="00B050"/>
                  </a:gs>
                </a:gsLst>
                <a:lin ang="0"/>
              </a:gradFill>
              <a:ln w="12701" cap="flat">
                <a:solidFill>
                  <a:srgbClr val="41719C"/>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de-DE" sz="1800" b="0" i="0" u="none" strike="noStrike" kern="1200" cap="none" spc="0" baseline="0">
                    <a:solidFill>
                      <a:srgbClr val="FFFFFF"/>
                    </a:solidFill>
                    <a:uFillTx/>
                    <a:latin typeface="Calibri"/>
                  </a:rPr>
                  <a:t>           </a:t>
                </a:r>
              </a:p>
            </p:txBody>
          </p:sp>
          <p:sp>
            <p:nvSpPr>
              <p:cNvPr id="37" name="Ellipse 22"/>
              <p:cNvSpPr/>
              <p:nvPr/>
            </p:nvSpPr>
            <p:spPr>
              <a:xfrm>
                <a:off x="6205281" y="3849129"/>
                <a:ext cx="463066" cy="35355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A9D18E"/>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de-DE" sz="1800" b="0" i="0" u="none" strike="noStrike" kern="1200" cap="none" spc="0" baseline="0">
                    <a:solidFill>
                      <a:srgbClr val="FFFFFF"/>
                    </a:solidFill>
                    <a:uFillTx/>
                    <a:latin typeface="Calibri"/>
                  </a:rPr>
                  <a:t>           </a:t>
                </a:r>
              </a:p>
            </p:txBody>
          </p:sp>
          <p:sp>
            <p:nvSpPr>
              <p:cNvPr id="38" name="Rechteck 23"/>
              <p:cNvSpPr/>
              <p:nvPr/>
            </p:nvSpPr>
            <p:spPr>
              <a:xfrm>
                <a:off x="6085600" y="3885962"/>
                <a:ext cx="701970" cy="284109"/>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de-DE" sz="900" b="1" i="0" u="none" strike="noStrike" kern="1200" cap="none" spc="0" baseline="0" dirty="0">
                    <a:solidFill>
                      <a:srgbClr val="002060"/>
                    </a:solidFill>
                    <a:effectLst>
                      <a:outerShdw dist="19048" dir="2700000">
                        <a:srgbClr val="000000"/>
                      </a:outerShdw>
                    </a:effectLst>
                    <a:uFillTx/>
                    <a:latin typeface="Calibri"/>
                  </a:rPr>
                  <a:t>RECYCLE</a:t>
                </a:r>
              </a:p>
            </p:txBody>
          </p:sp>
          <p:sp>
            <p:nvSpPr>
              <p:cNvPr id="39" name="Ellipse 24"/>
              <p:cNvSpPr/>
              <p:nvPr/>
            </p:nvSpPr>
            <p:spPr>
              <a:xfrm>
                <a:off x="6187012" y="3851240"/>
                <a:ext cx="463066" cy="35355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adFill>
                <a:gsLst>
                  <a:gs pos="100000">
                    <a:srgbClr val="70AD47">
                      <a:alpha val="11000"/>
                    </a:srgbClr>
                  </a:gs>
                  <a:gs pos="100000">
                    <a:srgbClr val="00B050"/>
                  </a:gs>
                </a:gsLst>
                <a:lin ang="0"/>
              </a:gradFill>
              <a:ln w="12701" cap="flat">
                <a:solidFill>
                  <a:srgbClr val="41719C"/>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de-DE" sz="1800" b="0" i="0" u="none" strike="noStrike" kern="1200" cap="none" spc="0" baseline="0" dirty="0">
                    <a:solidFill>
                      <a:srgbClr val="FFFFFF"/>
                    </a:solidFill>
                    <a:uFillTx/>
                    <a:latin typeface="Calibri"/>
                  </a:rPr>
                  <a:t>           </a:t>
                </a:r>
              </a:p>
            </p:txBody>
          </p:sp>
        </p:grpSp>
      </p:grpSp>
      <p:grpSp>
        <p:nvGrpSpPr>
          <p:cNvPr id="40" name="Gruppieren 39"/>
          <p:cNvGrpSpPr/>
          <p:nvPr/>
        </p:nvGrpSpPr>
        <p:grpSpPr>
          <a:xfrm>
            <a:off x="4651461" y="4439114"/>
            <a:ext cx="1285881" cy="1007791"/>
            <a:chOff x="6996125" y="4302890"/>
            <a:chExt cx="1343025" cy="962025"/>
          </a:xfrm>
        </p:grpSpPr>
        <p:pic>
          <p:nvPicPr>
            <p:cNvPr id="41" name="Grafik 40"/>
            <p:cNvPicPr>
              <a:picLocks noChangeAspect="1"/>
            </p:cNvPicPr>
            <p:nvPr/>
          </p:nvPicPr>
          <p:blipFill>
            <a:blip r:embed="rId5"/>
            <a:stretch>
              <a:fillRect/>
            </a:stretch>
          </p:blipFill>
          <p:spPr>
            <a:xfrm>
              <a:off x="6996125" y="4302890"/>
              <a:ext cx="1343025" cy="962025"/>
            </a:xfrm>
            <a:prstGeom prst="rect">
              <a:avLst/>
            </a:prstGeom>
          </p:spPr>
        </p:pic>
        <p:pic>
          <p:nvPicPr>
            <p:cNvPr id="42" name="Bild 1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35545" y="4388118"/>
              <a:ext cx="1064184" cy="791568"/>
            </a:xfrm>
            <a:prstGeom prst="rect">
              <a:avLst/>
            </a:prstGeom>
            <a:noFill/>
            <a:extLst>
              <a:ext uri="{909E8E84-426E-40DD-AFC4-6F175D3DCCD1}">
                <a14:hiddenFill xmlns:a14="http://schemas.microsoft.com/office/drawing/2010/main">
                  <a:solidFill>
                    <a:srgbClr val="FFFFFF"/>
                  </a:solidFill>
                </a14:hiddenFill>
              </a:ext>
            </a:extLst>
          </p:spPr>
        </p:pic>
        <p:sp>
          <p:nvSpPr>
            <p:cNvPr id="43" name="Freeform 52"/>
            <p:cNvSpPr>
              <a:spLocks noChangeArrowheads="1"/>
            </p:cNvSpPr>
            <p:nvPr/>
          </p:nvSpPr>
          <p:spPr bwMode="auto">
            <a:xfrm>
              <a:off x="7135545" y="4545885"/>
              <a:ext cx="496110" cy="276484"/>
            </a:xfrm>
            <a:custGeom>
              <a:avLst/>
              <a:gdLst>
                <a:gd name="T0" fmla="*/ 0 w 21600"/>
                <a:gd name="T1" fmla="*/ 228600 h 21600"/>
                <a:gd name="T2" fmla="*/ 457205 w 21600"/>
                <a:gd name="T3" fmla="*/ 0 h 21600"/>
                <a:gd name="T4" fmla="*/ 800100 w 21600"/>
                <a:gd name="T5" fmla="*/ 228600 h 21600"/>
                <a:gd name="T6" fmla="*/ 0 60000 65536"/>
                <a:gd name="T7" fmla="*/ 0 60000 65536"/>
                <a:gd name="T8" fmla="*/ 0 60000 65536"/>
              </a:gdLst>
              <a:ahLst/>
              <a:cxnLst>
                <a:cxn ang="T6">
                  <a:pos x="T0" y="T1"/>
                </a:cxn>
                <a:cxn ang="T7">
                  <a:pos x="T2" y="T3"/>
                </a:cxn>
                <a:cxn ang="T8">
                  <a:pos x="T4" y="T5"/>
                </a:cxn>
              </a:cxnLst>
              <a:rect l="0" t="0" r="r" b="b"/>
              <a:pathLst>
                <a:path w="21600" h="21600">
                  <a:moveTo>
                    <a:pt x="0" y="21600"/>
                  </a:moveTo>
                  <a:cubicBezTo>
                    <a:pt x="4371" y="10800"/>
                    <a:pt x="8743" y="0"/>
                    <a:pt x="12343" y="0"/>
                  </a:cubicBezTo>
                  <a:cubicBezTo>
                    <a:pt x="15943" y="0"/>
                    <a:pt x="20057" y="18000"/>
                    <a:pt x="21600" y="21600"/>
                  </a:cubicBezTo>
                </a:path>
              </a:pathLst>
            </a:custGeom>
            <a:noFill/>
            <a:ln w="22860">
              <a:solidFill>
                <a:srgbClr val="000000"/>
              </a:solidFill>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sp>
        <p:nvSpPr>
          <p:cNvPr id="44" name="Freeform 52"/>
          <p:cNvSpPr>
            <a:spLocks noChangeArrowheads="1"/>
          </p:cNvSpPr>
          <p:nvPr/>
        </p:nvSpPr>
        <p:spPr bwMode="auto">
          <a:xfrm>
            <a:off x="5293497" y="4770693"/>
            <a:ext cx="411239" cy="276484"/>
          </a:xfrm>
          <a:custGeom>
            <a:avLst/>
            <a:gdLst>
              <a:gd name="T0" fmla="*/ 0 w 21600"/>
              <a:gd name="T1" fmla="*/ 228600 h 21600"/>
              <a:gd name="T2" fmla="*/ 457205 w 21600"/>
              <a:gd name="T3" fmla="*/ 0 h 21600"/>
              <a:gd name="T4" fmla="*/ 800100 w 21600"/>
              <a:gd name="T5" fmla="*/ 228600 h 21600"/>
              <a:gd name="T6" fmla="*/ 0 60000 65536"/>
              <a:gd name="T7" fmla="*/ 0 60000 65536"/>
              <a:gd name="T8" fmla="*/ 0 60000 65536"/>
            </a:gdLst>
            <a:ahLst/>
            <a:cxnLst>
              <a:cxn ang="T6">
                <a:pos x="T0" y="T1"/>
              </a:cxn>
              <a:cxn ang="T7">
                <a:pos x="T2" y="T3"/>
              </a:cxn>
              <a:cxn ang="T8">
                <a:pos x="T4" y="T5"/>
              </a:cxn>
            </a:cxnLst>
            <a:rect l="0" t="0" r="r" b="b"/>
            <a:pathLst>
              <a:path w="21600" h="21600">
                <a:moveTo>
                  <a:pt x="0" y="21600"/>
                </a:moveTo>
                <a:cubicBezTo>
                  <a:pt x="4371" y="10800"/>
                  <a:pt x="8743" y="0"/>
                  <a:pt x="12343" y="0"/>
                </a:cubicBezTo>
                <a:cubicBezTo>
                  <a:pt x="15943" y="0"/>
                  <a:pt x="20057" y="18000"/>
                  <a:pt x="21600" y="21600"/>
                </a:cubicBezTo>
              </a:path>
            </a:pathLst>
          </a:custGeom>
          <a:noFill/>
          <a:ln w="22860">
            <a:solidFill>
              <a:srgbClr val="000000"/>
            </a:solidFill>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5"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3</a:t>
            </a:r>
            <a:endParaRPr lang="es-ES" dirty="0"/>
          </a:p>
        </p:txBody>
      </p:sp>
      <p:sp>
        <p:nvSpPr>
          <p:cNvPr id="46" name="Textfeld 45"/>
          <p:cNvSpPr txBox="1">
            <a:spLocks noChangeArrowheads="1"/>
          </p:cNvSpPr>
          <p:nvPr/>
        </p:nvSpPr>
        <p:spPr bwMode="auto">
          <a:xfrm>
            <a:off x="537990" y="6558211"/>
            <a:ext cx="4882530" cy="299789"/>
          </a:xfrm>
          <a:prstGeom prst="rect">
            <a:avLst/>
          </a:prstGeom>
          <a:solidFill>
            <a:srgbClr val="FDF49A"/>
          </a:solidFill>
          <a:ln w="25400">
            <a:solidFill>
              <a:srgbClr val="394994"/>
            </a:solidFill>
            <a:miter lim="800000"/>
            <a:headEnd/>
            <a:tailEnd/>
          </a:ln>
        </p:spPr>
        <p:txBody>
          <a:bodyPr lIns="0" rIns="0" anchor="ctr" anchorCtr="0">
            <a:noAutofit/>
          </a:bodyPr>
          <a:lstStyle/>
          <a:p>
            <a:pPr algn="ctr"/>
            <a:r>
              <a:rPr lang="de-DE" altLang="de-DE" sz="1100" dirty="0" smtClean="0">
                <a:solidFill>
                  <a:srgbClr val="394994"/>
                </a:solidFill>
              </a:rPr>
              <a:t>Produktvorstellung erfolgt nach Vertraulichkeitserklärung</a:t>
            </a:r>
            <a:endParaRPr lang="de-DE" altLang="de-DE" sz="1100" dirty="0">
              <a:solidFill>
                <a:srgbClr val="394994"/>
              </a:solidFill>
            </a:endParaRPr>
          </a:p>
        </p:txBody>
      </p:sp>
    </p:spTree>
    <p:extLst>
      <p:ext uri="{BB962C8B-B14F-4D97-AF65-F5344CB8AC3E}">
        <p14:creationId xmlns:p14="http://schemas.microsoft.com/office/powerpoint/2010/main" val="16329702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866320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243"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0248" name="Rectangle 3"/>
          <p:cNvSpPr>
            <a:spLocks noChangeArrowheads="1"/>
          </p:cNvSpPr>
          <p:nvPr/>
        </p:nvSpPr>
        <p:spPr bwMode="auto">
          <a:xfrm>
            <a:off x="539750" y="692150"/>
            <a:ext cx="6192838" cy="97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
              </a:rPr>
              <a:t>Portfolio Entwicklung</a:t>
            </a:r>
            <a:endParaRPr lang="de-DE" altLang="de-DE" sz="2000" dirty="0">
              <a:latin typeface="Arial "/>
            </a:endParaRPr>
          </a:p>
        </p:txBody>
      </p:sp>
      <p:grpSp>
        <p:nvGrpSpPr>
          <p:cNvPr id="10249" name="Group 9"/>
          <p:cNvGrpSpPr>
            <a:grpSpLocks/>
          </p:cNvGrpSpPr>
          <p:nvPr/>
        </p:nvGrpSpPr>
        <p:grpSpPr bwMode="auto">
          <a:xfrm>
            <a:off x="5443538" y="115888"/>
            <a:ext cx="3640137" cy="1296987"/>
            <a:chOff x="3429" y="73"/>
            <a:chExt cx="2293" cy="817"/>
          </a:xfrm>
        </p:grpSpPr>
        <p:grpSp>
          <p:nvGrpSpPr>
            <p:cNvPr id="10252" name="Group 4"/>
            <p:cNvGrpSpPr>
              <a:grpSpLocks noChangeAspect="1"/>
            </p:cNvGrpSpPr>
            <p:nvPr/>
          </p:nvGrpSpPr>
          <p:grpSpPr bwMode="auto">
            <a:xfrm>
              <a:off x="4513" y="73"/>
              <a:ext cx="855" cy="568"/>
              <a:chOff x="4307" y="328"/>
              <a:chExt cx="964" cy="640"/>
            </a:xfrm>
          </p:grpSpPr>
          <p:pic>
            <p:nvPicPr>
              <p:cNvPr id="10254"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5"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grpSp>
        <p:sp>
          <p:nvSpPr>
            <p:cNvPr id="10253"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r" eaLnBrk="1" hangingPunct="1">
                <a:lnSpc>
                  <a:spcPct val="100000"/>
                </a:lnSpc>
                <a:buClrTx/>
                <a:buSzPct val="90000"/>
                <a:buFontTx/>
                <a:buNone/>
              </a:pPr>
              <a:r>
                <a:rPr lang="de-DE" altLang="de-DE" sz="1800">
                  <a:solidFill>
                    <a:srgbClr val="777777"/>
                  </a:solidFill>
                  <a:latin typeface="Arial" pitchFamily="34" charset="0"/>
                </a:rPr>
                <a:t>Solar</a:t>
              </a:r>
              <a:r>
                <a:rPr lang="de-DE" altLang="de-DE" sz="1800" i="1">
                  <a:latin typeface="Arial" pitchFamily="34" charset="0"/>
                </a:rPr>
                <a:t>dynamik</a:t>
              </a:r>
              <a:r>
                <a:rPr lang="de-DE" altLang="de-DE" sz="1800">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grpSp>
        <p:nvGrpSpPr>
          <p:cNvPr id="25" name="Gruppieren 24"/>
          <p:cNvGrpSpPr/>
          <p:nvPr/>
        </p:nvGrpSpPr>
        <p:grpSpPr>
          <a:xfrm>
            <a:off x="422850" y="1671638"/>
            <a:ext cx="8298300" cy="4578578"/>
            <a:chOff x="522172" y="1082670"/>
            <a:chExt cx="8298300" cy="4578578"/>
          </a:xfrm>
        </p:grpSpPr>
        <p:grpSp>
          <p:nvGrpSpPr>
            <p:cNvPr id="26" name="Gruppieren 25"/>
            <p:cNvGrpSpPr/>
            <p:nvPr/>
          </p:nvGrpSpPr>
          <p:grpSpPr>
            <a:xfrm>
              <a:off x="6445915" y="4912456"/>
              <a:ext cx="2374557" cy="647547"/>
              <a:chOff x="6598568" y="5337306"/>
              <a:chExt cx="2088232" cy="926700"/>
            </a:xfrm>
          </p:grpSpPr>
          <p:grpSp>
            <p:nvGrpSpPr>
              <p:cNvPr id="37" name="Group 4"/>
              <p:cNvGrpSpPr>
                <a:grpSpLocks noChangeAspect="1"/>
              </p:cNvGrpSpPr>
              <p:nvPr/>
            </p:nvGrpSpPr>
            <p:grpSpPr bwMode="auto">
              <a:xfrm>
                <a:off x="7328765" y="5337306"/>
                <a:ext cx="1209567" cy="726929"/>
                <a:chOff x="4307" y="328"/>
                <a:chExt cx="965" cy="641"/>
              </a:xfrm>
            </p:grpSpPr>
            <p:pic>
              <p:nvPicPr>
                <p:cNvPr id="3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Text Box 6"/>
                <p:cNvSpPr txBox="1">
                  <a:spLocks noChangeAspect="1" noChangeArrowheads="1"/>
                </p:cNvSpPr>
                <p:nvPr/>
              </p:nvSpPr>
              <p:spPr bwMode="auto">
                <a:xfrm>
                  <a:off x="4387" y="382"/>
                  <a:ext cx="884" cy="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b="0">
                    <a:solidFill>
                      <a:schemeClr val="bg1"/>
                    </a:solidFill>
                  </a:endParaRPr>
                </a:p>
              </p:txBody>
            </p:sp>
          </p:grpSp>
          <p:sp>
            <p:nvSpPr>
              <p:cNvPr id="38" name="Rectangle 7"/>
              <p:cNvSpPr>
                <a:spLocks noChangeArrowheads="1"/>
              </p:cNvSpPr>
              <p:nvPr/>
            </p:nvSpPr>
            <p:spPr bwMode="auto">
              <a:xfrm>
                <a:off x="6598568" y="6079340"/>
                <a:ext cx="20882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36000" bIns="0" anchor="ctr">
                <a:spAutoFit/>
              </a:bodyPr>
              <a:lstStyle>
                <a:lvl1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000000"/>
                    </a:solidFill>
                    <a:latin typeface="Arial Narrow" pitchFamily="34" charset="0"/>
                    <a:ea typeface="MS PGothic" pitchFamily="34" charset="-128"/>
                  </a:defRPr>
                </a:lvl1pPr>
                <a:lvl2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2pPr>
                <a:lvl3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i="1">
                    <a:solidFill>
                      <a:srgbClr val="6D777D"/>
                    </a:solidFill>
                    <a:latin typeface="Arial Narrow" pitchFamily="34" charset="0"/>
                    <a:ea typeface="MS PGothic" pitchFamily="34" charset="-128"/>
                  </a:defRPr>
                </a:lvl3pPr>
                <a:lvl4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4pPr>
                <a:lvl5pPr>
                  <a:lnSpc>
                    <a:spcPct val="110000"/>
                  </a:lnSpc>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5pPr>
                <a:lvl6pPr marL="25146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6pPr>
                <a:lvl7pPr marL="29718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7pPr>
                <a:lvl8pPr marL="34290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8pPr>
                <a:lvl9pPr marL="3886200" indent="-228600" defTabSz="449263" eaLnBrk="0" fontAlgn="base" hangingPunct="0">
                  <a:lnSpc>
                    <a:spcPct val="110000"/>
                  </a:lnSpc>
                  <a:spcBef>
                    <a:spcPct val="0"/>
                  </a:spcBef>
                  <a:spcAft>
                    <a:spcPct val="0"/>
                  </a:spcAft>
                  <a:buClr>
                    <a:srgbClr val="000000"/>
                  </a:buClr>
                  <a:buSzPct val="100000"/>
                  <a:buFont typeface="Times New Roman" pitchFamily="18" charset="0"/>
                  <a:buChar char="»"/>
                  <a:tabLst>
                    <a:tab pos="914400" algn="l"/>
                    <a:tab pos="1828800" algn="l"/>
                    <a:tab pos="2743200" algn="l"/>
                    <a:tab pos="3657600" algn="l"/>
                    <a:tab pos="4572000" algn="l"/>
                    <a:tab pos="5486400" algn="l"/>
                    <a:tab pos="6400800" algn="l"/>
                    <a:tab pos="7315200" algn="l"/>
                    <a:tab pos="8229600" algn="l"/>
                    <a:tab pos="9144000" algn="l"/>
                    <a:tab pos="10058400" algn="l"/>
                  </a:tabLst>
                  <a:defRPr sz="1700">
                    <a:solidFill>
                      <a:srgbClr val="6D777D"/>
                    </a:solidFill>
                    <a:latin typeface="Arial Narrow" pitchFamily="34" charset="0"/>
                    <a:ea typeface="MS PGothic" pitchFamily="34" charset="-128"/>
                  </a:defRPr>
                </a:lvl9pPr>
              </a:lstStyle>
              <a:p>
                <a:pPr algn="r" eaLnBrk="1" hangingPunct="1">
                  <a:lnSpc>
                    <a:spcPct val="100000"/>
                  </a:lnSpc>
                  <a:buClrTx/>
                  <a:buSzPct val="90000"/>
                  <a:buFontTx/>
                  <a:buNone/>
                </a:pPr>
                <a:r>
                  <a:rPr lang="de-DE" altLang="de-DE" sz="1200" dirty="0">
                    <a:solidFill>
                      <a:srgbClr val="777777"/>
                    </a:solidFill>
                    <a:latin typeface="Arial" pitchFamily="34" charset="0"/>
                  </a:rPr>
                  <a:t>Solar</a:t>
                </a:r>
                <a:r>
                  <a:rPr lang="de-DE" altLang="de-DE" sz="1200" i="1" dirty="0">
                    <a:latin typeface="Arial" pitchFamily="34" charset="0"/>
                  </a:rPr>
                  <a:t>dynamik</a:t>
                </a:r>
                <a:r>
                  <a:rPr lang="de-DE" altLang="de-DE" sz="1200" dirty="0">
                    <a:latin typeface="Arial" pitchFamily="34" charset="0"/>
                  </a:rPr>
                  <a:t> </a:t>
                </a:r>
                <a:r>
                  <a:rPr lang="de-DE" altLang="de-DE" sz="1200" dirty="0">
                    <a:solidFill>
                      <a:srgbClr val="777777"/>
                    </a:solidFill>
                    <a:latin typeface="Arial" pitchFamily="34" charset="0"/>
                  </a:rPr>
                  <a:t>GmbH</a:t>
                </a:r>
                <a:r>
                  <a:rPr lang="de-DE" altLang="de-DE" sz="1200" baseline="50000" dirty="0">
                    <a:solidFill>
                      <a:srgbClr val="777777"/>
                    </a:solidFill>
                    <a:latin typeface="Arial" pitchFamily="34" charset="0"/>
                  </a:rPr>
                  <a:t>®</a:t>
                </a:r>
              </a:p>
            </p:txBody>
          </p:sp>
        </p:grpSp>
        <p:sp>
          <p:nvSpPr>
            <p:cNvPr id="27" name="Abgerundetes Rechteck 26"/>
            <p:cNvSpPr/>
            <p:nvPr/>
          </p:nvSpPr>
          <p:spPr>
            <a:xfrm>
              <a:off x="6440464" y="1946781"/>
              <a:ext cx="2251788" cy="905806"/>
            </a:xfrm>
            <a:prstGeom prst="round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ts val="1800"/>
                </a:lnSpc>
                <a:spcAft>
                  <a:spcPts val="900"/>
                </a:spcAft>
                <a:buClr>
                  <a:srgbClr val="394994"/>
                </a:buClr>
                <a:buSzPct val="90000"/>
                <a:defRPr/>
              </a:pPr>
              <a:r>
                <a:rPr lang="de-DE" altLang="de-DE" b="0" dirty="0" smtClean="0">
                  <a:solidFill>
                    <a:srgbClr val="394994"/>
                  </a:solidFill>
                  <a:latin typeface="Arial" panose="020B0604020202020204" pitchFamily="34" charset="0"/>
                  <a:cs typeface="Arial" panose="020B0604020202020204" pitchFamily="34" charset="0"/>
                </a:rPr>
                <a:t>PV-Nachführsystem elastisch</a:t>
              </a:r>
              <a:endParaRPr lang="de-DE" altLang="de-DE" b="0" dirty="0">
                <a:solidFill>
                  <a:srgbClr val="394994"/>
                </a:solidFill>
                <a:latin typeface="Arial" panose="020B0604020202020204" pitchFamily="34" charset="0"/>
                <a:cs typeface="Arial" panose="020B0604020202020204" pitchFamily="34" charset="0"/>
              </a:endParaRPr>
            </a:p>
          </p:txBody>
        </p:sp>
        <p:sp>
          <p:nvSpPr>
            <p:cNvPr id="28" name="Abgerundetes Rechteck 27"/>
            <p:cNvSpPr/>
            <p:nvPr/>
          </p:nvSpPr>
          <p:spPr>
            <a:xfrm>
              <a:off x="6496952" y="4755442"/>
              <a:ext cx="2238404" cy="905806"/>
            </a:xfrm>
            <a:prstGeom prst="round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800"/>
                </a:lnSpc>
                <a:spcAft>
                  <a:spcPts val="900"/>
                </a:spcAft>
                <a:buClr>
                  <a:srgbClr val="394994"/>
                </a:buClr>
                <a:buSzPct val="90000"/>
                <a:defRPr/>
              </a:pPr>
              <a:r>
                <a:rPr lang="de-DE" altLang="de-DE" b="0" dirty="0" smtClean="0">
                  <a:solidFill>
                    <a:srgbClr val="394994"/>
                  </a:solidFill>
                  <a:latin typeface="Arial" panose="020B0604020202020204" pitchFamily="34" charset="0"/>
                  <a:cs typeface="Arial" panose="020B0604020202020204" pitchFamily="34" charset="0"/>
                </a:rPr>
                <a:t>PV-</a:t>
              </a:r>
              <a:r>
                <a:rPr lang="de-DE" altLang="de-DE" b="0" dirty="0">
                  <a:solidFill>
                    <a:srgbClr val="394994"/>
                  </a:solidFill>
                  <a:latin typeface="Arial" panose="020B0604020202020204" pitchFamily="34" charset="0"/>
                  <a:cs typeface="Arial" panose="020B0604020202020204" pitchFamily="34" charset="0"/>
                </a:rPr>
                <a:t/>
              </a:r>
              <a:br>
                <a:rPr lang="de-DE" altLang="de-DE" b="0" dirty="0">
                  <a:solidFill>
                    <a:srgbClr val="394994"/>
                  </a:solidFill>
                  <a:latin typeface="Arial" panose="020B0604020202020204" pitchFamily="34" charset="0"/>
                  <a:cs typeface="Arial" panose="020B0604020202020204" pitchFamily="34" charset="0"/>
                </a:rPr>
              </a:br>
              <a:r>
                <a:rPr lang="de-DE" altLang="de-DE" b="0" dirty="0" smtClean="0">
                  <a:solidFill>
                    <a:srgbClr val="394994"/>
                  </a:solidFill>
                  <a:latin typeface="Arial" panose="020B0604020202020204" pitchFamily="34" charset="0"/>
                  <a:cs typeface="Arial" panose="020B0604020202020204" pitchFamily="34" charset="0"/>
                </a:rPr>
                <a:t>Carportdach</a:t>
              </a:r>
              <a:endParaRPr lang="de-DE" altLang="de-DE" b="0" dirty="0">
                <a:solidFill>
                  <a:srgbClr val="394994"/>
                </a:solidFill>
                <a:latin typeface="Arial" panose="020B0604020202020204" pitchFamily="34" charset="0"/>
                <a:cs typeface="Arial" panose="020B0604020202020204" pitchFamily="34" charset="0"/>
              </a:endParaRPr>
            </a:p>
          </p:txBody>
        </p:sp>
        <p:sp>
          <p:nvSpPr>
            <p:cNvPr id="29" name="Abgerundetes Rechteck 28"/>
            <p:cNvSpPr/>
            <p:nvPr/>
          </p:nvSpPr>
          <p:spPr>
            <a:xfrm>
              <a:off x="522172" y="4734926"/>
              <a:ext cx="2255149" cy="905806"/>
            </a:xfrm>
            <a:prstGeom prst="round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ts val="1800"/>
                </a:lnSpc>
                <a:spcAft>
                  <a:spcPts val="900"/>
                </a:spcAft>
                <a:buClr>
                  <a:srgbClr val="394994"/>
                </a:buClr>
                <a:buSzPct val="90000"/>
                <a:defRPr/>
              </a:pPr>
              <a:r>
                <a:rPr lang="de-DE" altLang="de-DE" b="0" dirty="0" smtClean="0">
                  <a:solidFill>
                    <a:srgbClr val="394994"/>
                  </a:solidFill>
                  <a:latin typeface="Arial" panose="020B0604020202020204" pitchFamily="34" charset="0"/>
                  <a:cs typeface="Arial" panose="020B0604020202020204" pitchFamily="34" charset="0"/>
                </a:rPr>
                <a:t>Agrophotovoltaik</a:t>
              </a:r>
              <a:endParaRPr lang="de-DE" altLang="de-DE" b="0" dirty="0">
                <a:solidFill>
                  <a:srgbClr val="394994"/>
                </a:solidFill>
                <a:latin typeface="Arial" panose="020B0604020202020204" pitchFamily="34" charset="0"/>
                <a:cs typeface="Arial" panose="020B0604020202020204" pitchFamily="34" charset="0"/>
              </a:endParaRPr>
            </a:p>
          </p:txBody>
        </p:sp>
        <p:sp>
          <p:nvSpPr>
            <p:cNvPr id="30" name="Abgerundetes Rechteck 29"/>
            <p:cNvSpPr/>
            <p:nvPr/>
          </p:nvSpPr>
          <p:spPr>
            <a:xfrm>
              <a:off x="3431760" y="3138207"/>
              <a:ext cx="2384259" cy="1385407"/>
            </a:xfrm>
            <a:prstGeom prst="round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ts val="1800"/>
                </a:lnSpc>
                <a:spcAft>
                  <a:spcPts val="900"/>
                </a:spcAft>
                <a:buClr>
                  <a:srgbClr val="394994"/>
                </a:buClr>
                <a:buSzPct val="90000"/>
                <a:defRPr/>
              </a:pPr>
              <a:r>
                <a:rPr lang="de-DE" altLang="de-DE" dirty="0" smtClean="0">
                  <a:solidFill>
                    <a:srgbClr val="394994"/>
                  </a:solidFill>
                  <a:latin typeface="Arial" panose="020B0604020202020204" pitchFamily="34" charset="0"/>
                  <a:cs typeface="Arial" panose="020B0604020202020204" pitchFamily="34" charset="0"/>
                </a:rPr>
                <a:t>Entwicklung</a:t>
              </a:r>
              <a:br>
                <a:rPr lang="de-DE" altLang="de-DE" dirty="0" smtClean="0">
                  <a:solidFill>
                    <a:srgbClr val="394994"/>
                  </a:solidFill>
                  <a:latin typeface="Arial" panose="020B0604020202020204" pitchFamily="34" charset="0"/>
                  <a:cs typeface="Arial" panose="020B0604020202020204" pitchFamily="34" charset="0"/>
                </a:rPr>
              </a:br>
              <a:r>
                <a:rPr lang="de-DE" altLang="de-DE" sz="2400" dirty="0" smtClean="0">
                  <a:solidFill>
                    <a:srgbClr val="394994"/>
                  </a:solidFill>
                  <a:latin typeface="Arial" panose="020B0604020202020204" pitchFamily="34" charset="0"/>
                  <a:cs typeface="Arial" panose="020B0604020202020204" pitchFamily="34" charset="0"/>
                </a:rPr>
                <a:t/>
              </a:r>
              <a:br>
                <a:rPr lang="de-DE" altLang="de-DE" sz="2400" dirty="0" smtClean="0">
                  <a:solidFill>
                    <a:srgbClr val="394994"/>
                  </a:solidFill>
                  <a:latin typeface="Arial" panose="020B0604020202020204" pitchFamily="34" charset="0"/>
                  <a:cs typeface="Arial" panose="020B0604020202020204" pitchFamily="34" charset="0"/>
                </a:rPr>
              </a:br>
              <a:r>
                <a:rPr lang="de-DE" altLang="de-DE" sz="1400" b="0" dirty="0" smtClean="0">
                  <a:solidFill>
                    <a:srgbClr val="394994"/>
                  </a:solidFill>
                  <a:latin typeface="Arial" panose="020B0604020202020204" pitchFamily="34" charset="0"/>
                  <a:cs typeface="Arial" panose="020B0604020202020204" pitchFamily="34" charset="0"/>
                </a:rPr>
                <a:t>Produktinnovation Verfahrensinnovation</a:t>
              </a:r>
              <a:br>
                <a:rPr lang="de-DE" altLang="de-DE" sz="1400" b="0" dirty="0" smtClean="0">
                  <a:solidFill>
                    <a:srgbClr val="394994"/>
                  </a:solidFill>
                  <a:latin typeface="Arial" panose="020B0604020202020204" pitchFamily="34" charset="0"/>
                  <a:cs typeface="Arial" panose="020B0604020202020204" pitchFamily="34" charset="0"/>
                </a:rPr>
              </a:br>
              <a:r>
                <a:rPr lang="de-DE" altLang="de-DE" sz="1400" b="0" dirty="0" smtClean="0">
                  <a:solidFill>
                    <a:srgbClr val="394994"/>
                  </a:solidFill>
                  <a:latin typeface="Arial" panose="020B0604020202020204" pitchFamily="34" charset="0"/>
                  <a:cs typeface="Arial" panose="020B0604020202020204" pitchFamily="34" charset="0"/>
                </a:rPr>
                <a:t>Serviceleistung </a:t>
              </a:r>
              <a:endParaRPr lang="de-DE" altLang="de-DE" sz="1400" b="0" dirty="0">
                <a:solidFill>
                  <a:srgbClr val="394994"/>
                </a:solidFill>
                <a:latin typeface="Arial" panose="020B0604020202020204" pitchFamily="34" charset="0"/>
                <a:cs typeface="Arial" panose="020B0604020202020204" pitchFamily="34" charset="0"/>
              </a:endParaRPr>
            </a:p>
          </p:txBody>
        </p:sp>
        <p:sp>
          <p:nvSpPr>
            <p:cNvPr id="31" name="Abgerundetes Rechteck 30"/>
            <p:cNvSpPr/>
            <p:nvPr/>
          </p:nvSpPr>
          <p:spPr>
            <a:xfrm>
              <a:off x="522172" y="1941868"/>
              <a:ext cx="2251788" cy="905806"/>
            </a:xfrm>
            <a:prstGeom prst="roundRect">
              <a:avLst/>
            </a:prstGeom>
            <a:solidFill>
              <a:srgbClr val="FDF49A"/>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lnSpc>
                  <a:spcPts val="1800"/>
                </a:lnSpc>
                <a:spcAft>
                  <a:spcPts val="900"/>
                </a:spcAft>
                <a:buClr>
                  <a:srgbClr val="394994"/>
                </a:buClr>
                <a:buSzPct val="90000"/>
                <a:defRPr/>
              </a:pPr>
              <a:r>
                <a:rPr lang="de-DE" altLang="de-DE" sz="2000" dirty="0" smtClean="0">
                  <a:solidFill>
                    <a:srgbClr val="394994"/>
                  </a:solidFill>
                  <a:latin typeface="+mj-lt"/>
                </a:rPr>
                <a:t> </a:t>
              </a:r>
              <a:r>
                <a:rPr lang="de-DE" altLang="de-DE" b="0" dirty="0">
                  <a:solidFill>
                    <a:srgbClr val="394994"/>
                  </a:solidFill>
                  <a:latin typeface="Arial" panose="020B0604020202020204" pitchFamily="34" charset="0"/>
                  <a:cs typeface="Arial" panose="020B0604020202020204" pitchFamily="34" charset="0"/>
                </a:rPr>
                <a:t>PV-</a:t>
              </a:r>
              <a:r>
                <a:rPr lang="de-DE" altLang="de-DE" b="0" dirty="0" smtClean="0">
                  <a:solidFill>
                    <a:srgbClr val="394994"/>
                  </a:solidFill>
                  <a:latin typeface="Arial" panose="020B0604020202020204" pitchFamily="34" charset="0"/>
                  <a:cs typeface="Arial" panose="020B0604020202020204" pitchFamily="34" charset="0"/>
                </a:rPr>
                <a:t>elastisches Trägersyste</a:t>
              </a:r>
              <a:r>
                <a:rPr lang="de-DE" altLang="de-DE" b="0" dirty="0">
                  <a:solidFill>
                    <a:srgbClr val="394994"/>
                  </a:solidFill>
                  <a:latin typeface="Arial" panose="020B0604020202020204" pitchFamily="34" charset="0"/>
                  <a:cs typeface="Arial" panose="020B0604020202020204" pitchFamily="34" charset="0"/>
                </a:rPr>
                <a:t>m</a:t>
              </a:r>
            </a:p>
          </p:txBody>
        </p:sp>
        <p:sp>
          <p:nvSpPr>
            <p:cNvPr id="32" name="Pfeil nach unten 31"/>
            <p:cNvSpPr/>
            <p:nvPr/>
          </p:nvSpPr>
          <p:spPr>
            <a:xfrm rot="17828227">
              <a:off x="5966259" y="4260243"/>
              <a:ext cx="352217" cy="752593"/>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Pfeil nach unten 32"/>
            <p:cNvSpPr/>
            <p:nvPr/>
          </p:nvSpPr>
          <p:spPr>
            <a:xfrm rot="7435483">
              <a:off x="2933131" y="2635956"/>
              <a:ext cx="346009" cy="758838"/>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Pfeil nach unten 33"/>
            <p:cNvSpPr/>
            <p:nvPr/>
          </p:nvSpPr>
          <p:spPr>
            <a:xfrm rot="3629781">
              <a:off x="2925682" y="4241571"/>
              <a:ext cx="360907" cy="758838"/>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Pfeil nach unten 34"/>
            <p:cNvSpPr/>
            <p:nvPr/>
          </p:nvSpPr>
          <p:spPr>
            <a:xfrm rot="14387238">
              <a:off x="5950351" y="2656683"/>
              <a:ext cx="371917" cy="758838"/>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p:cNvSpPr/>
            <p:nvPr/>
          </p:nvSpPr>
          <p:spPr>
            <a:xfrm>
              <a:off x="1376928" y="1082670"/>
              <a:ext cx="6256265" cy="1178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altLang="de-DE" b="1" dirty="0">
                  <a:solidFill>
                    <a:srgbClr val="394994"/>
                  </a:solidFill>
                  <a:latin typeface="Arial" panose="020B0604020202020204" pitchFamily="34" charset="0"/>
                  <a:cs typeface="Arial" panose="020B0604020202020204" pitchFamily="34" charset="0"/>
                </a:rPr>
                <a:t>Nachhaltigere Technologie zur Stromerzeugung mit </a:t>
              </a:r>
              <a:r>
                <a:rPr lang="de-DE" altLang="de-DE" b="1" dirty="0" smtClean="0">
                  <a:solidFill>
                    <a:srgbClr val="394994"/>
                  </a:solidFill>
                  <a:latin typeface="Arial" panose="020B0604020202020204" pitchFamily="34" charset="0"/>
                  <a:cs typeface="Arial" panose="020B0604020202020204" pitchFamily="34" charset="0"/>
                </a:rPr>
                <a:t>PV</a:t>
              </a:r>
            </a:p>
            <a:p>
              <a:pPr algn="ctr">
                <a:defRPr/>
              </a:pPr>
              <a:r>
                <a:rPr lang="de-DE" altLang="de-DE" b="0" dirty="0" smtClean="0">
                  <a:solidFill>
                    <a:srgbClr val="394994"/>
                  </a:solidFill>
                  <a:latin typeface="Arial" panose="020B0604020202020204" pitchFamily="34" charset="0"/>
                  <a:cs typeface="Arial" panose="020B0604020202020204" pitchFamily="34" charset="0"/>
                </a:rPr>
                <a:t> </a:t>
              </a:r>
            </a:p>
            <a:p>
              <a:pPr algn="ctr">
                <a:buFont typeface="Arial" panose="020B0604020202020204" pitchFamily="34" charset="0"/>
                <a:buChar char="•"/>
                <a:defRPr/>
              </a:pPr>
              <a:r>
                <a:rPr lang="de-DE" altLang="de-DE" b="0" dirty="0">
                  <a:solidFill>
                    <a:srgbClr val="394994"/>
                  </a:solidFill>
                  <a:latin typeface="Arial" panose="020B0604020202020204" pitchFamily="34" charset="0"/>
                  <a:cs typeface="Arial" panose="020B0604020202020204" pitchFamily="34" charset="0"/>
                </a:rPr>
                <a:t> </a:t>
              </a:r>
              <a:r>
                <a:rPr lang="de-DE" altLang="de-DE" b="0" dirty="0" smtClean="0">
                  <a:solidFill>
                    <a:srgbClr val="394994"/>
                  </a:solidFill>
                  <a:latin typeface="Arial" panose="020B0604020202020204" pitchFamily="34" charset="0"/>
                  <a:cs typeface="Arial" panose="020B0604020202020204" pitchFamily="34" charset="0"/>
                </a:rPr>
                <a:t>Bessere </a:t>
              </a:r>
              <a:r>
                <a:rPr lang="de-DE" altLang="de-DE" b="0" dirty="0">
                  <a:solidFill>
                    <a:srgbClr val="394994"/>
                  </a:solidFill>
                  <a:latin typeface="Arial" panose="020B0604020202020204" pitchFamily="34" charset="0"/>
                  <a:cs typeface="Arial" panose="020B0604020202020204" pitchFamily="34" charset="0"/>
                </a:rPr>
                <a:t>CO</a:t>
              </a:r>
              <a:r>
                <a:rPr lang="de-DE" altLang="de-DE" b="0" baseline="-25000" dirty="0">
                  <a:solidFill>
                    <a:srgbClr val="394994"/>
                  </a:solidFill>
                  <a:latin typeface="Arial" panose="020B0604020202020204" pitchFamily="34" charset="0"/>
                  <a:cs typeface="Arial" panose="020B0604020202020204" pitchFamily="34" charset="0"/>
                </a:rPr>
                <a:t>2</a:t>
              </a:r>
              <a:r>
                <a:rPr lang="de-DE" altLang="de-DE" b="0" dirty="0">
                  <a:solidFill>
                    <a:srgbClr val="394994"/>
                  </a:solidFill>
                  <a:latin typeface="Arial" panose="020B0604020202020204" pitchFamily="34" charset="0"/>
                  <a:cs typeface="Arial" panose="020B0604020202020204" pitchFamily="34" charset="0"/>
                </a:rPr>
                <a:t> </a:t>
              </a:r>
              <a:r>
                <a:rPr lang="de-DE" altLang="de-DE" b="0" dirty="0" smtClean="0">
                  <a:solidFill>
                    <a:srgbClr val="394994"/>
                  </a:solidFill>
                  <a:latin typeface="Arial" panose="020B0604020202020204" pitchFamily="34" charset="0"/>
                  <a:cs typeface="Arial" panose="020B0604020202020204" pitchFamily="34" charset="0"/>
                </a:rPr>
                <a:t>Bilanz</a:t>
              </a:r>
              <a:endParaRPr lang="de-DE" altLang="de-DE" b="0" dirty="0">
                <a:solidFill>
                  <a:srgbClr val="394994"/>
                </a:solidFill>
                <a:latin typeface="Arial" panose="020B0604020202020204" pitchFamily="34" charset="0"/>
                <a:cs typeface="Arial" panose="020B0604020202020204" pitchFamily="34" charset="0"/>
              </a:endParaRPr>
            </a:p>
            <a:p>
              <a:pPr algn="ctr">
                <a:buFont typeface="Arial" panose="020B0604020202020204" pitchFamily="34" charset="0"/>
                <a:buChar char="•"/>
                <a:defRPr/>
              </a:pPr>
              <a:r>
                <a:rPr lang="de-DE" altLang="de-DE" b="0" dirty="0" smtClean="0">
                  <a:solidFill>
                    <a:srgbClr val="394994"/>
                  </a:solidFill>
                  <a:latin typeface="Arial" panose="020B0604020202020204" pitchFamily="34" charset="0"/>
                  <a:cs typeface="Arial" panose="020B0604020202020204" pitchFamily="34" charset="0"/>
                </a:rPr>
                <a:t> Ressourceneffizient</a:t>
              </a:r>
              <a:endParaRPr lang="de-DE" altLang="de-DE" b="0" dirty="0">
                <a:solidFill>
                  <a:srgbClr val="394994"/>
                </a:solidFill>
                <a:latin typeface="Arial" panose="020B0604020202020204" pitchFamily="34" charset="0"/>
                <a:cs typeface="Arial" panose="020B0604020202020204" pitchFamily="34" charset="0"/>
              </a:endParaRPr>
            </a:p>
          </p:txBody>
        </p:sp>
      </p:grpSp>
      <p:sp>
        <p:nvSpPr>
          <p:cNvPr id="41"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4</a:t>
            </a:r>
            <a:endParaRPr lang="es-ES" dirty="0"/>
          </a:p>
        </p:txBody>
      </p:sp>
    </p:spTree>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47"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PV- elastisches festes Trägersystem</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16" name="Rechteck 15"/>
          <p:cNvSpPr/>
          <p:nvPr/>
        </p:nvSpPr>
        <p:spPr>
          <a:xfrm>
            <a:off x="827584" y="2089690"/>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Verfahren</a:t>
            </a:r>
            <a:endParaRPr lang="de-DE" sz="2800" dirty="0">
              <a:solidFill>
                <a:srgbClr val="394994"/>
              </a:solidFill>
            </a:endParaRPr>
          </a:p>
        </p:txBody>
      </p:sp>
      <p:sp>
        <p:nvSpPr>
          <p:cNvPr id="18" name="Rechteck 17"/>
          <p:cNvSpPr/>
          <p:nvPr/>
        </p:nvSpPr>
        <p:spPr>
          <a:xfrm>
            <a:off x="5724128" y="2074932"/>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Nutzen</a:t>
            </a:r>
            <a:endParaRPr lang="de-DE" sz="2800" dirty="0">
              <a:solidFill>
                <a:srgbClr val="394994"/>
              </a:solidFill>
            </a:endParaRPr>
          </a:p>
        </p:txBody>
      </p:sp>
      <p:sp>
        <p:nvSpPr>
          <p:cNvPr id="20" name="Textfeld 37"/>
          <p:cNvSpPr txBox="1">
            <a:spLocks noChangeArrowheads="1"/>
          </p:cNvSpPr>
          <p:nvPr/>
        </p:nvSpPr>
        <p:spPr bwMode="auto">
          <a:xfrm>
            <a:off x="821591" y="3606870"/>
            <a:ext cx="2309455" cy="1015663"/>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Elastische u. </a:t>
            </a:r>
            <a:r>
              <a:rPr lang="de-DE" altLang="de-DE" sz="2000" dirty="0"/>
              <a:t>l</a:t>
            </a:r>
            <a:r>
              <a:rPr lang="de-DE" altLang="de-DE" sz="2000" dirty="0" smtClean="0"/>
              <a:t>eichte Konstruktion</a:t>
            </a:r>
          </a:p>
          <a:p>
            <a:pPr algn="ctr"/>
            <a:endParaRPr lang="de-DE" altLang="de-DE" sz="2000" dirty="0"/>
          </a:p>
        </p:txBody>
      </p:sp>
      <p:sp>
        <p:nvSpPr>
          <p:cNvPr id="24" name="Textfeld 37"/>
          <p:cNvSpPr txBox="1">
            <a:spLocks noChangeArrowheads="1"/>
          </p:cNvSpPr>
          <p:nvPr/>
        </p:nvSpPr>
        <p:spPr bwMode="auto">
          <a:xfrm>
            <a:off x="5220047" y="3606870"/>
            <a:ext cx="3311623" cy="1015663"/>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Keine Dachbeschädigung Installation auf zuvor nicht geeigneten Dachflächen</a:t>
            </a:r>
            <a:endParaRPr lang="de-DE" altLang="de-DE" sz="2000" dirty="0"/>
          </a:p>
        </p:txBody>
      </p:sp>
      <p:sp>
        <p:nvSpPr>
          <p:cNvPr id="25" name="Textfeld 37"/>
          <p:cNvSpPr txBox="1">
            <a:spLocks noChangeArrowheads="1"/>
          </p:cNvSpPr>
          <p:nvPr/>
        </p:nvSpPr>
        <p:spPr bwMode="auto">
          <a:xfrm>
            <a:off x="5203548" y="5171547"/>
            <a:ext cx="3311623" cy="1015663"/>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Kostenreduzierung entlang der gesamten Wertschöpfungskette</a:t>
            </a:r>
            <a:endParaRPr lang="de-DE" altLang="de-DE" sz="2000" dirty="0"/>
          </a:p>
        </p:txBody>
      </p:sp>
      <p:pic>
        <p:nvPicPr>
          <p:cNvPr id="9266" name="Bild 1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1591" y="4833284"/>
            <a:ext cx="2309455" cy="124899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53"/>
          <p:cNvSpPr>
            <a:spLocks noChangeArrowheads="1"/>
          </p:cNvSpPr>
          <p:nvPr/>
        </p:nvSpPr>
        <p:spPr bwMode="auto">
          <a:xfrm>
            <a:off x="821591" y="4442117"/>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smtClean="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de-DE" altLang="de-DE" sz="700" b="0" i="0" u="none" strike="noStrike" cap="none" normalizeH="0" baseline="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6" name="Rectangle 54"/>
          <p:cNvSpPr>
            <a:spLocks noChangeArrowheads="1"/>
          </p:cNvSpPr>
          <p:nvPr/>
        </p:nvSpPr>
        <p:spPr bwMode="auto">
          <a:xfrm>
            <a:off x="821591" y="4899317"/>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19"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5</a:t>
            </a:r>
            <a:endParaRPr lang="es-ES" dirty="0"/>
          </a:p>
        </p:txBody>
      </p:sp>
    </p:spTree>
    <p:extLst>
      <p:ext uri="{BB962C8B-B14F-4D97-AF65-F5344CB8AC3E}">
        <p14:creationId xmlns:p14="http://schemas.microsoft.com/office/powerpoint/2010/main" val="474204922"/>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Bild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591" y="4833284"/>
            <a:ext cx="2309455" cy="124899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0" name="think-cell Folie" r:id="rId6" imgW="306" imgH="306" progId="TCLayout.ActiveDocument.1">
                  <p:embed/>
                </p:oleObj>
              </mc:Choice>
              <mc:Fallback>
                <p:oleObj name="think-cell Folie" r:id="rId6" imgW="306" imgH="30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PV- Nachführsysteme</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16" name="Rechteck 15"/>
          <p:cNvSpPr/>
          <p:nvPr/>
        </p:nvSpPr>
        <p:spPr>
          <a:xfrm>
            <a:off x="827584" y="2089690"/>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Verfahren</a:t>
            </a:r>
            <a:endParaRPr lang="de-DE" sz="2800" dirty="0">
              <a:solidFill>
                <a:srgbClr val="394994"/>
              </a:solidFill>
            </a:endParaRPr>
          </a:p>
        </p:txBody>
      </p:sp>
      <p:sp>
        <p:nvSpPr>
          <p:cNvPr id="18" name="Rechteck 17"/>
          <p:cNvSpPr/>
          <p:nvPr/>
        </p:nvSpPr>
        <p:spPr>
          <a:xfrm>
            <a:off x="5724128" y="2074932"/>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Nutzen</a:t>
            </a:r>
            <a:endParaRPr lang="de-DE" sz="2800" dirty="0">
              <a:solidFill>
                <a:srgbClr val="394994"/>
              </a:solidFill>
            </a:endParaRPr>
          </a:p>
        </p:txBody>
      </p:sp>
      <p:sp>
        <p:nvSpPr>
          <p:cNvPr id="20" name="Textfeld 37"/>
          <p:cNvSpPr txBox="1">
            <a:spLocks noChangeArrowheads="1"/>
          </p:cNvSpPr>
          <p:nvPr/>
        </p:nvSpPr>
        <p:spPr bwMode="auto">
          <a:xfrm>
            <a:off x="821591" y="3606870"/>
            <a:ext cx="2309455" cy="707886"/>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Leichtgewicht</a:t>
            </a:r>
          </a:p>
          <a:p>
            <a:pPr algn="ctr"/>
            <a:r>
              <a:rPr lang="de-DE" altLang="de-DE" sz="2000" dirty="0" smtClean="0"/>
              <a:t> Konstruktion</a:t>
            </a:r>
            <a:endParaRPr lang="de-DE" altLang="de-DE" sz="2000" dirty="0"/>
          </a:p>
        </p:txBody>
      </p:sp>
      <p:sp>
        <p:nvSpPr>
          <p:cNvPr id="24" name="Textfeld 37"/>
          <p:cNvSpPr txBox="1">
            <a:spLocks noChangeArrowheads="1"/>
          </p:cNvSpPr>
          <p:nvPr/>
        </p:nvSpPr>
        <p:spPr bwMode="auto">
          <a:xfrm>
            <a:off x="5220047" y="3606870"/>
            <a:ext cx="3311623" cy="707886"/>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Mögliche Installation auf zuvor nicht geeigneten Dachflächen</a:t>
            </a:r>
            <a:endParaRPr lang="de-DE" altLang="de-DE" sz="2000" dirty="0"/>
          </a:p>
        </p:txBody>
      </p:sp>
      <p:sp>
        <p:nvSpPr>
          <p:cNvPr id="25" name="Textfeld 37"/>
          <p:cNvSpPr txBox="1">
            <a:spLocks noChangeArrowheads="1"/>
          </p:cNvSpPr>
          <p:nvPr/>
        </p:nvSpPr>
        <p:spPr bwMode="auto">
          <a:xfrm>
            <a:off x="5203548" y="5171547"/>
            <a:ext cx="3311623" cy="1015663"/>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Kostenreduzierung entlang der gesamten Wertschöpfungskette</a:t>
            </a:r>
            <a:endParaRPr lang="de-DE" altLang="de-DE" sz="2000" dirty="0"/>
          </a:p>
        </p:txBody>
      </p:sp>
      <p:sp>
        <p:nvSpPr>
          <p:cNvPr id="3" name="Freeform 10"/>
          <p:cNvSpPr>
            <a:spLocks noChangeArrowheads="1"/>
          </p:cNvSpPr>
          <p:nvPr/>
        </p:nvSpPr>
        <p:spPr bwMode="auto">
          <a:xfrm>
            <a:off x="899592" y="5168740"/>
            <a:ext cx="930063" cy="276484"/>
          </a:xfrm>
          <a:custGeom>
            <a:avLst/>
            <a:gdLst>
              <a:gd name="T0" fmla="*/ 0 w 21600"/>
              <a:gd name="T1" fmla="*/ 228600 h 21600"/>
              <a:gd name="T2" fmla="*/ 457205 w 21600"/>
              <a:gd name="T3" fmla="*/ 0 h 21600"/>
              <a:gd name="T4" fmla="*/ 800100 w 21600"/>
              <a:gd name="T5" fmla="*/ 228600 h 21600"/>
              <a:gd name="T6" fmla="*/ 0 60000 65536"/>
              <a:gd name="T7" fmla="*/ 0 60000 65536"/>
              <a:gd name="T8" fmla="*/ 0 60000 65536"/>
            </a:gdLst>
            <a:ahLst/>
            <a:cxnLst>
              <a:cxn ang="T6">
                <a:pos x="T0" y="T1"/>
              </a:cxn>
              <a:cxn ang="T7">
                <a:pos x="T2" y="T3"/>
              </a:cxn>
              <a:cxn ang="T8">
                <a:pos x="T4" y="T5"/>
              </a:cxn>
            </a:cxnLst>
            <a:rect l="0" t="0" r="r" b="b"/>
            <a:pathLst>
              <a:path w="21600" h="21600">
                <a:moveTo>
                  <a:pt x="0" y="21600"/>
                </a:moveTo>
                <a:cubicBezTo>
                  <a:pt x="4371" y="10800"/>
                  <a:pt x="8743" y="0"/>
                  <a:pt x="12343" y="0"/>
                </a:cubicBezTo>
                <a:cubicBezTo>
                  <a:pt x="15943" y="0"/>
                  <a:pt x="20057" y="18000"/>
                  <a:pt x="21600" y="21600"/>
                </a:cubicBezTo>
              </a:path>
            </a:pathLst>
          </a:custGeom>
          <a:noFill/>
          <a:ln w="22860">
            <a:solidFill>
              <a:srgbClr val="000000"/>
            </a:solidFill>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 name="Freeform 52"/>
          <p:cNvSpPr>
            <a:spLocks noChangeArrowheads="1"/>
          </p:cNvSpPr>
          <p:nvPr/>
        </p:nvSpPr>
        <p:spPr bwMode="auto">
          <a:xfrm>
            <a:off x="1907657" y="5168740"/>
            <a:ext cx="936152" cy="276484"/>
          </a:xfrm>
          <a:custGeom>
            <a:avLst/>
            <a:gdLst>
              <a:gd name="T0" fmla="*/ 0 w 21600"/>
              <a:gd name="T1" fmla="*/ 228600 h 21600"/>
              <a:gd name="T2" fmla="*/ 457205 w 21600"/>
              <a:gd name="T3" fmla="*/ 0 h 21600"/>
              <a:gd name="T4" fmla="*/ 800100 w 21600"/>
              <a:gd name="T5" fmla="*/ 228600 h 21600"/>
              <a:gd name="T6" fmla="*/ 0 60000 65536"/>
              <a:gd name="T7" fmla="*/ 0 60000 65536"/>
              <a:gd name="T8" fmla="*/ 0 60000 65536"/>
            </a:gdLst>
            <a:ahLst/>
            <a:cxnLst>
              <a:cxn ang="T6">
                <a:pos x="T0" y="T1"/>
              </a:cxn>
              <a:cxn ang="T7">
                <a:pos x="T2" y="T3"/>
              </a:cxn>
              <a:cxn ang="T8">
                <a:pos x="T4" y="T5"/>
              </a:cxn>
            </a:cxnLst>
            <a:rect l="0" t="0" r="r" b="b"/>
            <a:pathLst>
              <a:path w="21600" h="21600">
                <a:moveTo>
                  <a:pt x="0" y="21600"/>
                </a:moveTo>
                <a:cubicBezTo>
                  <a:pt x="4371" y="10800"/>
                  <a:pt x="8743" y="0"/>
                  <a:pt x="12343" y="0"/>
                </a:cubicBezTo>
                <a:cubicBezTo>
                  <a:pt x="15943" y="0"/>
                  <a:pt x="20057" y="18000"/>
                  <a:pt x="21600" y="21600"/>
                </a:cubicBezTo>
              </a:path>
            </a:pathLst>
          </a:custGeom>
          <a:noFill/>
          <a:ln w="22860">
            <a:solidFill>
              <a:srgbClr val="000000"/>
            </a:solidFill>
            <a:round/>
            <a:headEnd type="triangl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Rectangle 53"/>
          <p:cNvSpPr>
            <a:spLocks noChangeArrowheads="1"/>
          </p:cNvSpPr>
          <p:nvPr/>
        </p:nvSpPr>
        <p:spPr bwMode="auto">
          <a:xfrm>
            <a:off x="821591" y="4442117"/>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smtClean="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kumimoji="0" lang="de-DE" altLang="de-DE" sz="700" b="0" i="0" u="none" strike="noStrike" cap="none" normalizeH="0" baseline="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smtClean="0">
              <a:ln>
                <a:noFill/>
              </a:ln>
              <a:solidFill>
                <a:schemeClr val="tx1"/>
              </a:solidFill>
              <a:effectLst/>
              <a:latin typeface="Arial" panose="020B0604020202020204" pitchFamily="34" charset="0"/>
            </a:endParaRPr>
          </a:p>
        </p:txBody>
      </p:sp>
      <p:sp>
        <p:nvSpPr>
          <p:cNvPr id="6" name="Rectangle 54"/>
          <p:cNvSpPr>
            <a:spLocks noChangeArrowheads="1"/>
          </p:cNvSpPr>
          <p:nvPr/>
        </p:nvSpPr>
        <p:spPr bwMode="auto">
          <a:xfrm>
            <a:off x="821591" y="4899317"/>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42"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6</a:t>
            </a:r>
            <a:endParaRPr lang="es-ES" dirty="0"/>
          </a:p>
        </p:txBody>
      </p:sp>
    </p:spTree>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8" descr="Carport_xyachse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512" y="4363305"/>
            <a:ext cx="4339837" cy="252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52" name="think-cell Folie" r:id="rId6" imgW="306" imgH="306" progId="TCLayout.ActiveDocument.1">
                  <p:embed/>
                </p:oleObj>
              </mc:Choice>
              <mc:Fallback>
                <p:oleObj name="think-cell Folie" r:id="rId6" imgW="306" imgH="30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Carport- Dächer</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20" name="Textfeld 37"/>
          <p:cNvSpPr txBox="1">
            <a:spLocks noChangeArrowheads="1"/>
          </p:cNvSpPr>
          <p:nvPr/>
        </p:nvSpPr>
        <p:spPr bwMode="auto">
          <a:xfrm>
            <a:off x="5203548" y="3606870"/>
            <a:ext cx="3311623" cy="707886"/>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Optimale Sonnen- und Wärmeregulierung </a:t>
            </a:r>
            <a:endParaRPr lang="de-DE" altLang="de-DE" sz="2000" dirty="0"/>
          </a:p>
        </p:txBody>
      </p:sp>
      <p:sp>
        <p:nvSpPr>
          <p:cNvPr id="23" name="Textfeld 37"/>
          <p:cNvSpPr txBox="1">
            <a:spLocks noChangeArrowheads="1"/>
          </p:cNvSpPr>
          <p:nvPr/>
        </p:nvSpPr>
        <p:spPr bwMode="auto">
          <a:xfrm>
            <a:off x="5220047" y="5197216"/>
            <a:ext cx="3311623" cy="400110"/>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Architektonische Integration</a:t>
            </a:r>
            <a:endParaRPr lang="de-DE" altLang="de-DE" sz="2000" dirty="0"/>
          </a:p>
        </p:txBody>
      </p:sp>
      <p:sp>
        <p:nvSpPr>
          <p:cNvPr id="28" name="Textfeld 37"/>
          <p:cNvSpPr txBox="1">
            <a:spLocks noChangeArrowheads="1"/>
          </p:cNvSpPr>
          <p:nvPr/>
        </p:nvSpPr>
        <p:spPr bwMode="auto">
          <a:xfrm>
            <a:off x="821591" y="3606870"/>
            <a:ext cx="3311623" cy="707886"/>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PV kann auf Dächern fixiert werden</a:t>
            </a:r>
            <a:endParaRPr lang="de-DE" altLang="de-DE" sz="2000" dirty="0"/>
          </a:p>
        </p:txBody>
      </p:sp>
      <p:sp>
        <p:nvSpPr>
          <p:cNvPr id="38" name="Rechteck 37"/>
          <p:cNvSpPr/>
          <p:nvPr/>
        </p:nvSpPr>
        <p:spPr>
          <a:xfrm>
            <a:off x="827584" y="2089690"/>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Verfahren</a:t>
            </a:r>
            <a:endParaRPr lang="de-DE" sz="2800" dirty="0">
              <a:solidFill>
                <a:srgbClr val="394994"/>
              </a:solidFill>
            </a:endParaRPr>
          </a:p>
        </p:txBody>
      </p:sp>
      <p:sp>
        <p:nvSpPr>
          <p:cNvPr id="39" name="Rechteck 38"/>
          <p:cNvSpPr/>
          <p:nvPr/>
        </p:nvSpPr>
        <p:spPr>
          <a:xfrm>
            <a:off x="5724128" y="2074932"/>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Nutzen</a:t>
            </a:r>
            <a:endParaRPr lang="de-DE" sz="2800" dirty="0">
              <a:solidFill>
                <a:srgbClr val="394994"/>
              </a:solidFill>
            </a:endParaRPr>
          </a:p>
        </p:txBody>
      </p:sp>
      <p:sp>
        <p:nvSpPr>
          <p:cNvPr id="44"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7</a:t>
            </a:r>
            <a:endParaRPr lang="es-ES" dirty="0"/>
          </a:p>
        </p:txBody>
      </p:sp>
    </p:spTree>
    <p:extLst>
      <p:ext uri="{BB962C8B-B14F-4D97-AF65-F5344CB8AC3E}">
        <p14:creationId xmlns:p14="http://schemas.microsoft.com/office/powerpoint/2010/main" val="1574172993"/>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525078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76"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Rectangle 1"/>
          <p:cNvSpPr>
            <a:spLocks noChangeArrowheads="1"/>
          </p:cNvSpPr>
          <p:nvPr/>
        </p:nvSpPr>
        <p:spPr bwMode="auto">
          <a:xfrm>
            <a:off x="0" y="0"/>
            <a:ext cx="9144000" cy="1439863"/>
          </a:xfrm>
          <a:prstGeom prst="rect">
            <a:avLst/>
          </a:prstGeom>
          <a:gradFill rotWithShape="0">
            <a:gsLst>
              <a:gs pos="0">
                <a:srgbClr val="FDF7A1"/>
              </a:gs>
              <a:gs pos="50000">
                <a:srgbClr val="FDE36C"/>
              </a:gs>
              <a:gs pos="100000">
                <a:srgbClr val="FDF7A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sp>
        <p:nvSpPr>
          <p:cNvPr id="11268" name="Rectangle 3"/>
          <p:cNvSpPr>
            <a:spLocks noChangeArrowheads="1"/>
          </p:cNvSpPr>
          <p:nvPr/>
        </p:nvSpPr>
        <p:spPr bwMode="auto">
          <a:xfrm>
            <a:off x="539750" y="719138"/>
            <a:ext cx="6192838"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eaLnBrk="1" hangingPunct="1">
              <a:buSzPct val="90000"/>
            </a:pPr>
            <a:r>
              <a:rPr lang="de-DE" altLang="de-DE" sz="2000" dirty="0" smtClean="0">
                <a:latin typeface="Arial" pitchFamily="34" charset="0"/>
              </a:rPr>
              <a:t>Agrophotovoltaik</a:t>
            </a:r>
            <a:endParaRPr lang="de-DE" altLang="de-DE" sz="2000" dirty="0">
              <a:latin typeface="Arial" pitchFamily="34" charset="0"/>
            </a:endParaRPr>
          </a:p>
        </p:txBody>
      </p:sp>
      <p:grpSp>
        <p:nvGrpSpPr>
          <p:cNvPr id="11269" name="Group 20"/>
          <p:cNvGrpSpPr>
            <a:grpSpLocks/>
          </p:cNvGrpSpPr>
          <p:nvPr/>
        </p:nvGrpSpPr>
        <p:grpSpPr bwMode="auto">
          <a:xfrm>
            <a:off x="5435600" y="115888"/>
            <a:ext cx="3640138" cy="1296987"/>
            <a:chOff x="3429" y="73"/>
            <a:chExt cx="2293" cy="817"/>
          </a:xfrm>
        </p:grpSpPr>
        <p:grpSp>
          <p:nvGrpSpPr>
            <p:cNvPr id="11275" name="Group 4"/>
            <p:cNvGrpSpPr>
              <a:grpSpLocks noChangeAspect="1"/>
            </p:cNvGrpSpPr>
            <p:nvPr/>
          </p:nvGrpSpPr>
          <p:grpSpPr bwMode="auto">
            <a:xfrm>
              <a:off x="4513" y="73"/>
              <a:ext cx="855" cy="568"/>
              <a:chOff x="4307" y="328"/>
              <a:chExt cx="964" cy="640"/>
            </a:xfrm>
          </p:grpSpPr>
          <p:pic>
            <p:nvPicPr>
              <p:cNvPr id="11277"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 Box 6"/>
              <p:cNvSpPr txBox="1">
                <a:spLocks noChangeAspect="1" noChangeArrowheads="1"/>
              </p:cNvSpPr>
              <p:nvPr/>
            </p:nvSpPr>
            <p:spPr bwMode="auto">
              <a:xfrm>
                <a:off x="4307" y="328"/>
                <a:ext cx="965"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buClr>
                    <a:srgbClr val="000000"/>
                  </a:buClr>
                  <a:buSzPct val="100000"/>
                  <a:buFont typeface="Times New Roman" pitchFamily="18" charset="0"/>
                  <a:buNone/>
                </a:pPr>
                <a:endParaRPr lang="de-DE" altLang="de-DE" sz="1700"/>
              </a:p>
            </p:txBody>
          </p:sp>
        </p:grpSp>
        <p:sp>
          <p:nvSpPr>
            <p:cNvPr id="11276" name="Rectangle 7"/>
            <p:cNvSpPr>
              <a:spLocks noChangeArrowheads="1"/>
            </p:cNvSpPr>
            <p:nvPr/>
          </p:nvSpPr>
          <p:spPr bwMode="auto">
            <a:xfrm>
              <a:off x="3429" y="717"/>
              <a:ext cx="229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36000" bIns="0" anchor="ctr">
              <a:spAutoFit/>
            </a:bodyPr>
            <a:lstStyle>
              <a:lvl1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1pPr>
              <a:lvl2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2pPr>
              <a:lvl3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3pPr>
              <a:lvl4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4pPr>
              <a:lvl5pPr>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5pPr>
              <a:lvl6pPr marL="25146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6pPr>
              <a:lvl7pPr marL="29718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7pPr>
              <a:lvl8pPr marL="34290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8pPr>
              <a:lvl9pPr marL="3886200" indent="-228600" defTabSz="449263" eaLnBrk="0" fontAlgn="base" hangingPunct="0">
                <a:spcBef>
                  <a:spcPct val="0"/>
                </a:spcBef>
                <a:spcAft>
                  <a:spcPct val="0"/>
                </a:spcAft>
                <a:tabLst>
                  <a:tab pos="914400" algn="l"/>
                  <a:tab pos="1828800" algn="l"/>
                  <a:tab pos="2743200" algn="l"/>
                  <a:tab pos="3657600" algn="l"/>
                  <a:tab pos="4572000" algn="l"/>
                  <a:tab pos="5486400" algn="l"/>
                  <a:tab pos="6400800" algn="l"/>
                  <a:tab pos="7315200" algn="l"/>
                  <a:tab pos="8229600" algn="l"/>
                  <a:tab pos="9144000" algn="l"/>
                  <a:tab pos="10058400" algn="l"/>
                </a:tabLst>
                <a:defRPr sz="1600" b="1">
                  <a:solidFill>
                    <a:srgbClr val="394994"/>
                  </a:solidFill>
                  <a:latin typeface="Arial Narrow" pitchFamily="34" charset="0"/>
                  <a:ea typeface="MS PGothic" pitchFamily="34" charset="-128"/>
                </a:defRPr>
              </a:lvl9pPr>
            </a:lstStyle>
            <a:p>
              <a:pPr algn="r" eaLnBrk="1" hangingPunct="1">
                <a:buSzPct val="90000"/>
              </a:pPr>
              <a:r>
                <a:rPr lang="de-DE" altLang="de-DE" sz="1800">
                  <a:solidFill>
                    <a:srgbClr val="777777"/>
                  </a:solidFill>
                  <a:latin typeface="Arial" pitchFamily="34" charset="0"/>
                </a:rPr>
                <a:t>Solar</a:t>
              </a:r>
              <a:r>
                <a:rPr lang="de-DE" altLang="de-DE" sz="1800" i="1">
                  <a:solidFill>
                    <a:srgbClr val="000000"/>
                  </a:solidFill>
                  <a:latin typeface="Arial" pitchFamily="34" charset="0"/>
                </a:rPr>
                <a:t>dynamik</a:t>
              </a:r>
              <a:r>
                <a:rPr lang="de-DE" altLang="de-DE" sz="1800">
                  <a:solidFill>
                    <a:srgbClr val="000000"/>
                  </a:solidFill>
                  <a:latin typeface="Arial" pitchFamily="34" charset="0"/>
                </a:rPr>
                <a:t> </a:t>
              </a:r>
              <a:r>
                <a:rPr lang="de-DE" altLang="de-DE" sz="1800">
                  <a:solidFill>
                    <a:srgbClr val="777777"/>
                  </a:solidFill>
                  <a:latin typeface="Arial" pitchFamily="34" charset="0"/>
                </a:rPr>
                <a:t>GmbH</a:t>
              </a:r>
              <a:r>
                <a:rPr lang="de-DE" altLang="de-DE" sz="1800" baseline="50000">
                  <a:solidFill>
                    <a:srgbClr val="777777"/>
                  </a:solidFill>
                  <a:latin typeface="Arial" pitchFamily="34" charset="0"/>
                </a:rPr>
                <a:t>®</a:t>
              </a:r>
            </a:p>
          </p:txBody>
        </p:sp>
      </p:grpSp>
      <p:sp>
        <p:nvSpPr>
          <p:cNvPr id="20" name="Textfeld 37"/>
          <p:cNvSpPr txBox="1">
            <a:spLocks noChangeArrowheads="1"/>
          </p:cNvSpPr>
          <p:nvPr/>
        </p:nvSpPr>
        <p:spPr bwMode="auto">
          <a:xfrm>
            <a:off x="5220047" y="3604655"/>
            <a:ext cx="3311623" cy="1015663"/>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Kosteneffizienz durch automatische Installation möglich</a:t>
            </a:r>
            <a:endParaRPr lang="de-DE" altLang="de-DE" sz="2000" dirty="0"/>
          </a:p>
        </p:txBody>
      </p:sp>
      <p:sp>
        <p:nvSpPr>
          <p:cNvPr id="23" name="Textfeld 37"/>
          <p:cNvSpPr txBox="1">
            <a:spLocks noChangeArrowheads="1"/>
          </p:cNvSpPr>
          <p:nvPr/>
        </p:nvSpPr>
        <p:spPr bwMode="auto">
          <a:xfrm>
            <a:off x="5211263" y="5215340"/>
            <a:ext cx="3311623" cy="1015663"/>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Überdurchschnittlich höherer Ertrag für Regionen mit extremen Wetterereignissen</a:t>
            </a:r>
            <a:endParaRPr lang="de-DE" altLang="de-DE" sz="2000" dirty="0"/>
          </a:p>
        </p:txBody>
      </p:sp>
      <p:sp>
        <p:nvSpPr>
          <p:cNvPr id="26" name="Textfeld 37"/>
          <p:cNvSpPr txBox="1">
            <a:spLocks noChangeArrowheads="1"/>
          </p:cNvSpPr>
          <p:nvPr/>
        </p:nvSpPr>
        <p:spPr bwMode="auto">
          <a:xfrm>
            <a:off x="817527" y="3604655"/>
            <a:ext cx="3311623" cy="1015663"/>
          </a:xfrm>
          <a:prstGeom prst="rect">
            <a:avLst/>
          </a:prstGeom>
          <a:solidFill>
            <a:srgbClr val="FDF49A"/>
          </a:solidFill>
          <a:ln w="25400">
            <a:solidFill>
              <a:srgbClr val="394994"/>
            </a:solidFill>
            <a:miter lim="800000"/>
            <a:headEnd/>
            <a:tailEnd/>
          </a:ln>
        </p:spPr>
        <p:txBody>
          <a:bodyPr wrap="square">
            <a:spAutoFit/>
          </a:bodyPr>
          <a:lstStyle/>
          <a:p>
            <a:pPr algn="ctr"/>
            <a:r>
              <a:rPr lang="de-DE" altLang="de-DE" sz="2000" dirty="0" smtClean="0"/>
              <a:t>Konstruktionen sind mit Wasserverteilungssystemen kombinierbar</a:t>
            </a:r>
            <a:endParaRPr lang="de-DE" altLang="de-DE" sz="2000" dirty="0"/>
          </a:p>
        </p:txBody>
      </p:sp>
      <p:grpSp>
        <p:nvGrpSpPr>
          <p:cNvPr id="17" name="Gruppieren 10"/>
          <p:cNvGrpSpPr>
            <a:grpSpLocks/>
          </p:cNvGrpSpPr>
          <p:nvPr/>
        </p:nvGrpSpPr>
        <p:grpSpPr bwMode="auto">
          <a:xfrm>
            <a:off x="818778" y="4941168"/>
            <a:ext cx="2673102" cy="1524788"/>
            <a:chOff x="179388" y="1592263"/>
            <a:chExt cx="7335837" cy="4164012"/>
          </a:xfrm>
        </p:grpSpPr>
        <p:sp>
          <p:nvSpPr>
            <p:cNvPr id="19" name="Rectangle 10"/>
            <p:cNvSpPr>
              <a:spLocks noChangeAspect="1" noChangeArrowheads="1"/>
            </p:cNvSpPr>
            <p:nvPr/>
          </p:nvSpPr>
          <p:spPr bwMode="auto">
            <a:xfrm rot="-5400000">
              <a:off x="3542507" y="4601369"/>
              <a:ext cx="1728787" cy="104775"/>
            </a:xfrm>
            <a:prstGeom prst="rect">
              <a:avLst/>
            </a:prstGeom>
            <a:solidFill>
              <a:srgbClr val="3399FF"/>
            </a:solidFill>
            <a:ln w="25400">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1" name="Oval 11"/>
            <p:cNvSpPr>
              <a:spLocks noChangeAspect="1" noChangeArrowheads="1"/>
            </p:cNvSpPr>
            <p:nvPr/>
          </p:nvSpPr>
          <p:spPr bwMode="auto">
            <a:xfrm>
              <a:off x="4349750" y="3717925"/>
              <a:ext cx="431800" cy="144463"/>
            </a:xfrm>
            <a:prstGeom prst="ellipse">
              <a:avLst/>
            </a:prstGeom>
            <a:solidFill>
              <a:srgbClr val="3399FF"/>
            </a:solidFill>
            <a:ln w="222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2" name="Rectangle 12"/>
            <p:cNvSpPr>
              <a:spLocks noChangeAspect="1" noChangeArrowheads="1"/>
            </p:cNvSpPr>
            <p:nvPr/>
          </p:nvSpPr>
          <p:spPr bwMode="auto">
            <a:xfrm rot="-5400000">
              <a:off x="-273843" y="4601369"/>
              <a:ext cx="1728787" cy="104775"/>
            </a:xfrm>
            <a:prstGeom prst="rect">
              <a:avLst/>
            </a:prstGeom>
            <a:solidFill>
              <a:srgbClr val="3399FF"/>
            </a:solidFill>
            <a:ln w="25400">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4" name="Oval 13"/>
            <p:cNvSpPr>
              <a:spLocks noChangeAspect="1" noChangeArrowheads="1"/>
            </p:cNvSpPr>
            <p:nvPr/>
          </p:nvSpPr>
          <p:spPr bwMode="auto">
            <a:xfrm>
              <a:off x="538163" y="3717925"/>
              <a:ext cx="431800" cy="144463"/>
            </a:xfrm>
            <a:prstGeom prst="ellipse">
              <a:avLst/>
            </a:prstGeom>
            <a:solidFill>
              <a:srgbClr val="3399FF"/>
            </a:solidFill>
            <a:ln w="222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5" name="Rectangle 17" descr="Krähenfüße"/>
            <p:cNvSpPr>
              <a:spLocks noChangeAspect="1" noChangeArrowheads="1"/>
            </p:cNvSpPr>
            <p:nvPr/>
          </p:nvSpPr>
          <p:spPr bwMode="auto">
            <a:xfrm rot="10800000">
              <a:off x="827088" y="3717925"/>
              <a:ext cx="120650" cy="2016125"/>
            </a:xfrm>
            <a:prstGeom prst="rect">
              <a:avLst/>
            </a:prstGeom>
            <a:pattFill prst="divot">
              <a:fgClr>
                <a:srgbClr val="000000"/>
              </a:fgClr>
              <a:bgClr>
                <a:srgbClr val="CC9900"/>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7" name="Rectangle 18" descr="Diagonal dunkel nach oben"/>
            <p:cNvSpPr>
              <a:spLocks noChangeAspect="1" noChangeArrowheads="1"/>
            </p:cNvSpPr>
            <p:nvPr/>
          </p:nvSpPr>
          <p:spPr bwMode="auto">
            <a:xfrm rot="1122236">
              <a:off x="1114425" y="3444875"/>
              <a:ext cx="712788" cy="57150"/>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8" name="Rectangle 19"/>
            <p:cNvSpPr>
              <a:spLocks noChangeAspect="1" noChangeArrowheads="1"/>
            </p:cNvSpPr>
            <p:nvPr/>
          </p:nvSpPr>
          <p:spPr bwMode="auto">
            <a:xfrm>
              <a:off x="179388" y="5516563"/>
              <a:ext cx="576262" cy="239712"/>
            </a:xfrm>
            <a:prstGeom prst="rect">
              <a:avLst/>
            </a:prstGeom>
            <a:solidFill>
              <a:srgbClr val="3399FF"/>
            </a:solidFill>
            <a:ln w="50800">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9" name="Rectangle 20"/>
            <p:cNvSpPr>
              <a:spLocks noChangeAspect="1" noChangeArrowheads="1"/>
            </p:cNvSpPr>
            <p:nvPr/>
          </p:nvSpPr>
          <p:spPr bwMode="auto">
            <a:xfrm rot="5400000">
              <a:off x="2123282" y="2636044"/>
              <a:ext cx="69850" cy="2376487"/>
            </a:xfrm>
            <a:prstGeom prst="rect">
              <a:avLst/>
            </a:prstGeom>
            <a:solidFill>
              <a:srgbClr val="3399FF"/>
            </a:solidFill>
            <a:ln w="12700">
              <a:solidFill>
                <a:schemeClr val="tx1"/>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1" name="AutoShape 21" descr="Konturierte Raute"/>
            <p:cNvSpPr>
              <a:spLocks noChangeAspect="1" noChangeArrowheads="1"/>
            </p:cNvSpPr>
            <p:nvPr/>
          </p:nvSpPr>
          <p:spPr bwMode="auto">
            <a:xfrm flipV="1">
              <a:off x="825500" y="3646488"/>
              <a:ext cx="2665413" cy="71437"/>
            </a:xfrm>
            <a:prstGeom prst="roundRect">
              <a:avLst>
                <a:gd name="adj" fmla="val 37764"/>
              </a:avLst>
            </a:prstGeom>
            <a:pattFill prst="openDmnd">
              <a:fgClr>
                <a:srgbClr val="000000"/>
              </a:fgClr>
              <a:bgClr>
                <a:srgbClr val="FFFFFF"/>
              </a:bgClr>
            </a:patt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 name="Rectangle 22" descr="Krähenfüße"/>
            <p:cNvSpPr>
              <a:spLocks noChangeAspect="1" noChangeArrowheads="1"/>
            </p:cNvSpPr>
            <p:nvPr/>
          </p:nvSpPr>
          <p:spPr bwMode="auto">
            <a:xfrm rot="10800000">
              <a:off x="3346450" y="3716338"/>
              <a:ext cx="120650" cy="2016125"/>
            </a:xfrm>
            <a:prstGeom prst="rect">
              <a:avLst/>
            </a:prstGeom>
            <a:pattFill prst="divot">
              <a:fgClr>
                <a:srgbClr val="000000"/>
              </a:fgClr>
              <a:bgClr>
                <a:srgbClr val="CC9900"/>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3" name="Rectangle 23" descr="Diagonal dunkel nach oben"/>
            <p:cNvSpPr>
              <a:spLocks noChangeAspect="1" noChangeArrowheads="1"/>
            </p:cNvSpPr>
            <p:nvPr/>
          </p:nvSpPr>
          <p:spPr bwMode="auto">
            <a:xfrm rot="1357191">
              <a:off x="2338388" y="3429000"/>
              <a:ext cx="712787" cy="57150"/>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4" name="Rectangle 28"/>
            <p:cNvSpPr>
              <a:spLocks noChangeAspect="1" noChangeArrowheads="1"/>
            </p:cNvSpPr>
            <p:nvPr/>
          </p:nvSpPr>
          <p:spPr bwMode="auto">
            <a:xfrm rot="5400000">
              <a:off x="5934869" y="2639219"/>
              <a:ext cx="69850" cy="2376488"/>
            </a:xfrm>
            <a:prstGeom prst="rect">
              <a:avLst/>
            </a:prstGeom>
            <a:solidFill>
              <a:srgbClr val="3399FF"/>
            </a:solidFill>
            <a:ln w="12700">
              <a:solidFill>
                <a:schemeClr val="tx1"/>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5" name="Rectangle 29"/>
            <p:cNvSpPr>
              <a:spLocks noChangeAspect="1" noChangeArrowheads="1"/>
            </p:cNvSpPr>
            <p:nvPr/>
          </p:nvSpPr>
          <p:spPr bwMode="auto">
            <a:xfrm>
              <a:off x="3995738" y="5445125"/>
              <a:ext cx="576262" cy="239713"/>
            </a:xfrm>
            <a:prstGeom prst="rect">
              <a:avLst/>
            </a:prstGeom>
            <a:solidFill>
              <a:srgbClr val="3399FF"/>
            </a:solidFill>
            <a:ln w="50800">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6" name="Oval 30"/>
            <p:cNvSpPr>
              <a:spLocks noChangeAspect="1" noChangeArrowheads="1"/>
            </p:cNvSpPr>
            <p:nvPr/>
          </p:nvSpPr>
          <p:spPr bwMode="auto">
            <a:xfrm>
              <a:off x="2857500" y="1670050"/>
              <a:ext cx="642938" cy="642938"/>
            </a:xfrm>
            <a:prstGeom prst="ellipse">
              <a:avLst/>
            </a:prstGeom>
            <a:solidFill>
              <a:srgbClr val="FFFF00"/>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7" name="Line 31"/>
            <p:cNvSpPr>
              <a:spLocks noChangeShapeType="1"/>
            </p:cNvSpPr>
            <p:nvPr/>
          </p:nvSpPr>
          <p:spPr bwMode="auto">
            <a:xfrm rot="-2700000">
              <a:off x="1403350" y="2182813"/>
              <a:ext cx="1609725" cy="46355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38" name="Line 32"/>
            <p:cNvSpPr>
              <a:spLocks noChangeShapeType="1"/>
            </p:cNvSpPr>
            <p:nvPr/>
          </p:nvSpPr>
          <p:spPr bwMode="auto">
            <a:xfrm rot="-2700000">
              <a:off x="1892300" y="2527300"/>
              <a:ext cx="1235075" cy="109538"/>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39" name="Line 33"/>
            <p:cNvSpPr>
              <a:spLocks noChangeShapeType="1"/>
            </p:cNvSpPr>
            <p:nvPr/>
          </p:nvSpPr>
          <p:spPr bwMode="auto">
            <a:xfrm rot="18900000" flipV="1">
              <a:off x="2496344" y="2534444"/>
              <a:ext cx="792162" cy="21590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40" name="Line 34"/>
            <p:cNvSpPr>
              <a:spLocks noChangeShapeType="1"/>
            </p:cNvSpPr>
            <p:nvPr/>
          </p:nvSpPr>
          <p:spPr bwMode="auto">
            <a:xfrm rot="18900000" flipV="1">
              <a:off x="3099594" y="2147094"/>
              <a:ext cx="454025" cy="652463"/>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41" name="Line 35"/>
            <p:cNvSpPr>
              <a:spLocks noChangeShapeType="1"/>
            </p:cNvSpPr>
            <p:nvPr/>
          </p:nvSpPr>
          <p:spPr bwMode="auto">
            <a:xfrm rot="18900000" flipV="1">
              <a:off x="3679031" y="1970882"/>
              <a:ext cx="33337" cy="831850"/>
            </a:xfrm>
            <a:prstGeom prst="line">
              <a:avLst/>
            </a:prstGeom>
            <a:noFill/>
            <a:ln w="38100">
              <a:solidFill>
                <a:srgbClr val="FFFF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42" name="Oval 38"/>
            <p:cNvSpPr>
              <a:spLocks noChangeArrowheads="1"/>
            </p:cNvSpPr>
            <p:nvPr/>
          </p:nvSpPr>
          <p:spPr bwMode="auto">
            <a:xfrm>
              <a:off x="1042988" y="3933825"/>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43" name="Oval 39"/>
            <p:cNvSpPr>
              <a:spLocks noChangeArrowheads="1"/>
            </p:cNvSpPr>
            <p:nvPr/>
          </p:nvSpPr>
          <p:spPr bwMode="auto">
            <a:xfrm>
              <a:off x="1185863" y="4005263"/>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44" name="Oval 40"/>
            <p:cNvSpPr>
              <a:spLocks noChangeArrowheads="1"/>
            </p:cNvSpPr>
            <p:nvPr/>
          </p:nvSpPr>
          <p:spPr bwMode="auto">
            <a:xfrm>
              <a:off x="1295400" y="4005263"/>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45" name="Oval 41"/>
            <p:cNvSpPr>
              <a:spLocks noChangeArrowheads="1"/>
            </p:cNvSpPr>
            <p:nvPr/>
          </p:nvSpPr>
          <p:spPr bwMode="auto">
            <a:xfrm>
              <a:off x="1438275" y="4076700"/>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46" name="Oval 42"/>
            <p:cNvSpPr>
              <a:spLocks noChangeArrowheads="1"/>
            </p:cNvSpPr>
            <p:nvPr/>
          </p:nvSpPr>
          <p:spPr bwMode="auto">
            <a:xfrm>
              <a:off x="1114425" y="4365625"/>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47" name="Oval 43"/>
            <p:cNvSpPr>
              <a:spLocks noChangeArrowheads="1"/>
            </p:cNvSpPr>
            <p:nvPr/>
          </p:nvSpPr>
          <p:spPr bwMode="auto">
            <a:xfrm>
              <a:off x="1257300" y="4437063"/>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48" name="Oval 44"/>
            <p:cNvSpPr>
              <a:spLocks noChangeArrowheads="1"/>
            </p:cNvSpPr>
            <p:nvPr/>
          </p:nvSpPr>
          <p:spPr bwMode="auto">
            <a:xfrm>
              <a:off x="1474788" y="451008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49" name="Oval 45"/>
            <p:cNvSpPr>
              <a:spLocks noChangeArrowheads="1"/>
            </p:cNvSpPr>
            <p:nvPr/>
          </p:nvSpPr>
          <p:spPr bwMode="auto">
            <a:xfrm>
              <a:off x="1617663" y="458152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0" name="Oval 46"/>
            <p:cNvSpPr>
              <a:spLocks noChangeArrowheads="1"/>
            </p:cNvSpPr>
            <p:nvPr/>
          </p:nvSpPr>
          <p:spPr bwMode="auto">
            <a:xfrm>
              <a:off x="1252538" y="45799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1" name="Oval 47"/>
            <p:cNvSpPr>
              <a:spLocks noChangeArrowheads="1"/>
            </p:cNvSpPr>
            <p:nvPr/>
          </p:nvSpPr>
          <p:spPr bwMode="auto">
            <a:xfrm>
              <a:off x="1401763" y="465137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2" name="Oval 48"/>
            <p:cNvSpPr>
              <a:spLocks noChangeArrowheads="1"/>
            </p:cNvSpPr>
            <p:nvPr/>
          </p:nvSpPr>
          <p:spPr bwMode="auto">
            <a:xfrm>
              <a:off x="1619250" y="47958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3" name="Oval 49"/>
            <p:cNvSpPr>
              <a:spLocks noChangeArrowheads="1"/>
            </p:cNvSpPr>
            <p:nvPr/>
          </p:nvSpPr>
          <p:spPr bwMode="auto">
            <a:xfrm>
              <a:off x="1762125" y="48672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4" name="Oval 50"/>
            <p:cNvSpPr>
              <a:spLocks noChangeArrowheads="1"/>
            </p:cNvSpPr>
            <p:nvPr/>
          </p:nvSpPr>
          <p:spPr bwMode="auto">
            <a:xfrm>
              <a:off x="1185863" y="50117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5" name="Oval 51"/>
            <p:cNvSpPr>
              <a:spLocks noChangeArrowheads="1"/>
            </p:cNvSpPr>
            <p:nvPr/>
          </p:nvSpPr>
          <p:spPr bwMode="auto">
            <a:xfrm>
              <a:off x="1328738" y="508317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6" name="Oval 52"/>
            <p:cNvSpPr>
              <a:spLocks noChangeArrowheads="1"/>
            </p:cNvSpPr>
            <p:nvPr/>
          </p:nvSpPr>
          <p:spPr bwMode="auto">
            <a:xfrm>
              <a:off x="1798638" y="4005263"/>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7" name="Oval 53"/>
            <p:cNvSpPr>
              <a:spLocks noChangeArrowheads="1"/>
            </p:cNvSpPr>
            <p:nvPr/>
          </p:nvSpPr>
          <p:spPr bwMode="auto">
            <a:xfrm>
              <a:off x="1901825" y="4005263"/>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8" name="Oval 54"/>
            <p:cNvSpPr>
              <a:spLocks noChangeArrowheads="1"/>
            </p:cNvSpPr>
            <p:nvPr/>
          </p:nvSpPr>
          <p:spPr bwMode="auto">
            <a:xfrm>
              <a:off x="2051050" y="4076700"/>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59" name="Oval 55"/>
            <p:cNvSpPr>
              <a:spLocks noChangeArrowheads="1"/>
            </p:cNvSpPr>
            <p:nvPr/>
          </p:nvSpPr>
          <p:spPr bwMode="auto">
            <a:xfrm>
              <a:off x="1727200" y="4365625"/>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0" name="Oval 56"/>
            <p:cNvSpPr>
              <a:spLocks noChangeArrowheads="1"/>
            </p:cNvSpPr>
            <p:nvPr/>
          </p:nvSpPr>
          <p:spPr bwMode="auto">
            <a:xfrm>
              <a:off x="1870075" y="4437063"/>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1" name="Oval 57"/>
            <p:cNvSpPr>
              <a:spLocks noChangeArrowheads="1"/>
            </p:cNvSpPr>
            <p:nvPr/>
          </p:nvSpPr>
          <p:spPr bwMode="auto">
            <a:xfrm>
              <a:off x="2087563" y="451008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2" name="Oval 58"/>
            <p:cNvSpPr>
              <a:spLocks noChangeArrowheads="1"/>
            </p:cNvSpPr>
            <p:nvPr/>
          </p:nvSpPr>
          <p:spPr bwMode="auto">
            <a:xfrm>
              <a:off x="2230438" y="458152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3" name="Oval 59"/>
            <p:cNvSpPr>
              <a:spLocks noChangeArrowheads="1"/>
            </p:cNvSpPr>
            <p:nvPr/>
          </p:nvSpPr>
          <p:spPr bwMode="auto">
            <a:xfrm>
              <a:off x="1871663" y="45799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4" name="Oval 60"/>
            <p:cNvSpPr>
              <a:spLocks noChangeArrowheads="1"/>
            </p:cNvSpPr>
            <p:nvPr/>
          </p:nvSpPr>
          <p:spPr bwMode="auto">
            <a:xfrm>
              <a:off x="2014538" y="465137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5" name="Oval 61"/>
            <p:cNvSpPr>
              <a:spLocks noChangeArrowheads="1"/>
            </p:cNvSpPr>
            <p:nvPr/>
          </p:nvSpPr>
          <p:spPr bwMode="auto">
            <a:xfrm>
              <a:off x="2232025" y="47958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6" name="Oval 62"/>
            <p:cNvSpPr>
              <a:spLocks noChangeArrowheads="1"/>
            </p:cNvSpPr>
            <p:nvPr/>
          </p:nvSpPr>
          <p:spPr bwMode="auto">
            <a:xfrm>
              <a:off x="2374900" y="48672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7" name="Oval 63"/>
            <p:cNvSpPr>
              <a:spLocks noChangeArrowheads="1"/>
            </p:cNvSpPr>
            <p:nvPr/>
          </p:nvSpPr>
          <p:spPr bwMode="auto">
            <a:xfrm>
              <a:off x="1798638" y="50117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8" name="Oval 64"/>
            <p:cNvSpPr>
              <a:spLocks noChangeArrowheads="1"/>
            </p:cNvSpPr>
            <p:nvPr/>
          </p:nvSpPr>
          <p:spPr bwMode="auto">
            <a:xfrm>
              <a:off x="1941513" y="508317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69" name="Oval 65"/>
            <p:cNvSpPr>
              <a:spLocks noChangeArrowheads="1"/>
            </p:cNvSpPr>
            <p:nvPr/>
          </p:nvSpPr>
          <p:spPr bwMode="auto">
            <a:xfrm>
              <a:off x="2230438" y="4005263"/>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0" name="Oval 66"/>
            <p:cNvSpPr>
              <a:spLocks noChangeArrowheads="1"/>
            </p:cNvSpPr>
            <p:nvPr/>
          </p:nvSpPr>
          <p:spPr bwMode="auto">
            <a:xfrm>
              <a:off x="2373313" y="4076700"/>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1" name="Oval 67"/>
            <p:cNvSpPr>
              <a:spLocks noChangeArrowheads="1"/>
            </p:cNvSpPr>
            <p:nvPr/>
          </p:nvSpPr>
          <p:spPr bwMode="auto">
            <a:xfrm>
              <a:off x="2411413" y="4365625"/>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2" name="Oval 68"/>
            <p:cNvSpPr>
              <a:spLocks noChangeArrowheads="1"/>
            </p:cNvSpPr>
            <p:nvPr/>
          </p:nvSpPr>
          <p:spPr bwMode="auto">
            <a:xfrm>
              <a:off x="2552700" y="458152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3" name="Oval 69"/>
            <p:cNvSpPr>
              <a:spLocks noChangeArrowheads="1"/>
            </p:cNvSpPr>
            <p:nvPr/>
          </p:nvSpPr>
          <p:spPr bwMode="auto">
            <a:xfrm>
              <a:off x="2336800" y="46513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4" name="Oval 70"/>
            <p:cNvSpPr>
              <a:spLocks noChangeArrowheads="1"/>
            </p:cNvSpPr>
            <p:nvPr/>
          </p:nvSpPr>
          <p:spPr bwMode="auto">
            <a:xfrm>
              <a:off x="2554288" y="47958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5" name="Oval 71"/>
            <p:cNvSpPr>
              <a:spLocks noChangeArrowheads="1"/>
            </p:cNvSpPr>
            <p:nvPr/>
          </p:nvSpPr>
          <p:spPr bwMode="auto">
            <a:xfrm>
              <a:off x="2697163" y="486727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6" name="Oval 72"/>
            <p:cNvSpPr>
              <a:spLocks noChangeArrowheads="1"/>
            </p:cNvSpPr>
            <p:nvPr/>
          </p:nvSpPr>
          <p:spPr bwMode="auto">
            <a:xfrm>
              <a:off x="2263775" y="50831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7" name="Oval 73"/>
            <p:cNvSpPr>
              <a:spLocks noChangeArrowheads="1"/>
            </p:cNvSpPr>
            <p:nvPr/>
          </p:nvSpPr>
          <p:spPr bwMode="auto">
            <a:xfrm>
              <a:off x="2733675" y="4005263"/>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8" name="Oval 74"/>
            <p:cNvSpPr>
              <a:spLocks noChangeArrowheads="1"/>
            </p:cNvSpPr>
            <p:nvPr/>
          </p:nvSpPr>
          <p:spPr bwMode="auto">
            <a:xfrm>
              <a:off x="2843213" y="4005263"/>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79" name="Oval 75"/>
            <p:cNvSpPr>
              <a:spLocks noChangeArrowheads="1"/>
            </p:cNvSpPr>
            <p:nvPr/>
          </p:nvSpPr>
          <p:spPr bwMode="auto">
            <a:xfrm>
              <a:off x="2986088" y="4076700"/>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0" name="Oval 76"/>
            <p:cNvSpPr>
              <a:spLocks noChangeArrowheads="1"/>
            </p:cNvSpPr>
            <p:nvPr/>
          </p:nvSpPr>
          <p:spPr bwMode="auto">
            <a:xfrm>
              <a:off x="2662238" y="4365625"/>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1" name="Oval 77"/>
            <p:cNvSpPr>
              <a:spLocks noChangeArrowheads="1"/>
            </p:cNvSpPr>
            <p:nvPr/>
          </p:nvSpPr>
          <p:spPr bwMode="auto">
            <a:xfrm>
              <a:off x="2805113" y="4437063"/>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2" name="Oval 78"/>
            <p:cNvSpPr>
              <a:spLocks noChangeArrowheads="1"/>
            </p:cNvSpPr>
            <p:nvPr/>
          </p:nvSpPr>
          <p:spPr bwMode="auto">
            <a:xfrm>
              <a:off x="3022600" y="451008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3" name="Oval 79"/>
            <p:cNvSpPr>
              <a:spLocks noChangeArrowheads="1"/>
            </p:cNvSpPr>
            <p:nvPr/>
          </p:nvSpPr>
          <p:spPr bwMode="auto">
            <a:xfrm>
              <a:off x="3165475" y="458152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4" name="Oval 81"/>
            <p:cNvSpPr>
              <a:spLocks noChangeArrowheads="1"/>
            </p:cNvSpPr>
            <p:nvPr/>
          </p:nvSpPr>
          <p:spPr bwMode="auto">
            <a:xfrm>
              <a:off x="2949575" y="46513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5" name="Oval 82"/>
            <p:cNvSpPr>
              <a:spLocks noChangeArrowheads="1"/>
            </p:cNvSpPr>
            <p:nvPr/>
          </p:nvSpPr>
          <p:spPr bwMode="auto">
            <a:xfrm>
              <a:off x="3167063" y="47958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6" name="Oval 83"/>
            <p:cNvSpPr>
              <a:spLocks noChangeArrowheads="1"/>
            </p:cNvSpPr>
            <p:nvPr/>
          </p:nvSpPr>
          <p:spPr bwMode="auto">
            <a:xfrm>
              <a:off x="3309938" y="5084763"/>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7" name="Oval 84"/>
            <p:cNvSpPr>
              <a:spLocks noChangeArrowheads="1"/>
            </p:cNvSpPr>
            <p:nvPr/>
          </p:nvSpPr>
          <p:spPr bwMode="auto">
            <a:xfrm>
              <a:off x="2898775" y="50117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8" name="Oval 85"/>
            <p:cNvSpPr>
              <a:spLocks noChangeArrowheads="1"/>
            </p:cNvSpPr>
            <p:nvPr/>
          </p:nvSpPr>
          <p:spPr bwMode="auto">
            <a:xfrm>
              <a:off x="3041650" y="50831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89" name="Oval 86"/>
            <p:cNvSpPr>
              <a:spLocks noChangeAspect="1" noChangeArrowheads="1"/>
            </p:cNvSpPr>
            <p:nvPr/>
          </p:nvSpPr>
          <p:spPr bwMode="auto">
            <a:xfrm>
              <a:off x="5354638" y="1592263"/>
              <a:ext cx="1511300" cy="506412"/>
            </a:xfrm>
            <a:prstGeom prst="ellipse">
              <a:avLst/>
            </a:prstGeom>
            <a:solidFill>
              <a:srgbClr val="00CCFF"/>
            </a:solidFill>
            <a:ln w="222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0" name="Oval 87"/>
            <p:cNvSpPr>
              <a:spLocks noChangeAspect="1" noChangeArrowheads="1"/>
            </p:cNvSpPr>
            <p:nvPr/>
          </p:nvSpPr>
          <p:spPr bwMode="auto">
            <a:xfrm>
              <a:off x="5643563" y="1738313"/>
              <a:ext cx="1511300" cy="506412"/>
            </a:xfrm>
            <a:prstGeom prst="ellipse">
              <a:avLst/>
            </a:prstGeom>
            <a:solidFill>
              <a:srgbClr val="00CCFF"/>
            </a:solidFill>
            <a:ln w="222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1" name="Oval 88"/>
            <p:cNvSpPr>
              <a:spLocks noChangeAspect="1" noChangeArrowheads="1"/>
            </p:cNvSpPr>
            <p:nvPr/>
          </p:nvSpPr>
          <p:spPr bwMode="auto">
            <a:xfrm>
              <a:off x="6003925" y="1738313"/>
              <a:ext cx="1511300" cy="506412"/>
            </a:xfrm>
            <a:prstGeom prst="ellipse">
              <a:avLst/>
            </a:prstGeom>
            <a:solidFill>
              <a:srgbClr val="00CCFF"/>
            </a:solidFill>
            <a:ln w="222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2" name="Oval 89"/>
            <p:cNvSpPr>
              <a:spLocks noChangeAspect="1" noChangeArrowheads="1"/>
            </p:cNvSpPr>
            <p:nvPr/>
          </p:nvSpPr>
          <p:spPr bwMode="auto">
            <a:xfrm>
              <a:off x="4706938" y="1666875"/>
              <a:ext cx="1511300" cy="506413"/>
            </a:xfrm>
            <a:prstGeom prst="ellipse">
              <a:avLst/>
            </a:prstGeom>
            <a:solidFill>
              <a:srgbClr val="00CCFF"/>
            </a:solidFill>
            <a:ln w="222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3" name="Oval 90"/>
            <p:cNvSpPr>
              <a:spLocks noChangeAspect="1" noChangeArrowheads="1"/>
            </p:cNvSpPr>
            <p:nvPr/>
          </p:nvSpPr>
          <p:spPr bwMode="auto">
            <a:xfrm>
              <a:off x="5211763" y="1592263"/>
              <a:ext cx="1727200" cy="506412"/>
            </a:xfrm>
            <a:prstGeom prst="ellipse">
              <a:avLst/>
            </a:prstGeom>
            <a:solidFill>
              <a:srgbClr val="00CCFF"/>
            </a:solidFill>
            <a:ln>
              <a:noFill/>
            </a:ln>
            <a:extLst>
              <a:ext uri="{91240B29-F687-4F45-9708-019B960494DF}">
                <a14:hiddenLine xmlns:a14="http://schemas.microsoft.com/office/drawing/2010/main" w="22225">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4" name="Oval 80"/>
            <p:cNvSpPr>
              <a:spLocks noChangeArrowheads="1"/>
            </p:cNvSpPr>
            <p:nvPr/>
          </p:nvSpPr>
          <p:spPr bwMode="auto">
            <a:xfrm rot="1363288">
              <a:off x="5402263" y="30686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5" name="Oval 91"/>
            <p:cNvSpPr>
              <a:spLocks noChangeArrowheads="1"/>
            </p:cNvSpPr>
            <p:nvPr/>
          </p:nvSpPr>
          <p:spPr bwMode="auto">
            <a:xfrm rot="1363288">
              <a:off x="4895850" y="231298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6" name="Oval 92"/>
            <p:cNvSpPr>
              <a:spLocks noChangeArrowheads="1"/>
            </p:cNvSpPr>
            <p:nvPr/>
          </p:nvSpPr>
          <p:spPr bwMode="auto">
            <a:xfrm rot="1363288">
              <a:off x="5013325" y="2436813"/>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7" name="Oval 93"/>
            <p:cNvSpPr>
              <a:spLocks noChangeArrowheads="1"/>
            </p:cNvSpPr>
            <p:nvPr/>
          </p:nvSpPr>
          <p:spPr bwMode="auto">
            <a:xfrm rot="1363288">
              <a:off x="5276850" y="2625725"/>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8" name="Oval 94"/>
            <p:cNvSpPr>
              <a:spLocks noChangeArrowheads="1"/>
            </p:cNvSpPr>
            <p:nvPr/>
          </p:nvSpPr>
          <p:spPr bwMode="auto">
            <a:xfrm rot="1363288">
              <a:off x="5394325" y="2749550"/>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99" name="Oval 95"/>
            <p:cNvSpPr>
              <a:spLocks noChangeArrowheads="1"/>
            </p:cNvSpPr>
            <p:nvPr/>
          </p:nvSpPr>
          <p:spPr bwMode="auto">
            <a:xfrm rot="1363288">
              <a:off x="5192713" y="2436813"/>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0" name="Oval 97"/>
            <p:cNvSpPr>
              <a:spLocks noChangeArrowheads="1"/>
            </p:cNvSpPr>
            <p:nvPr/>
          </p:nvSpPr>
          <p:spPr bwMode="auto">
            <a:xfrm rot="1363288">
              <a:off x="5000625" y="2743200"/>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1" name="Oval 98"/>
            <p:cNvSpPr>
              <a:spLocks noChangeArrowheads="1"/>
            </p:cNvSpPr>
            <p:nvPr/>
          </p:nvSpPr>
          <p:spPr bwMode="auto">
            <a:xfrm rot="1363288">
              <a:off x="5573713" y="274955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2" name="Oval 99"/>
            <p:cNvSpPr>
              <a:spLocks noChangeArrowheads="1"/>
            </p:cNvSpPr>
            <p:nvPr/>
          </p:nvSpPr>
          <p:spPr bwMode="auto">
            <a:xfrm rot="1363288">
              <a:off x="5692775" y="28733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3" name="Oval 100"/>
            <p:cNvSpPr>
              <a:spLocks noChangeArrowheads="1"/>
            </p:cNvSpPr>
            <p:nvPr/>
          </p:nvSpPr>
          <p:spPr bwMode="auto">
            <a:xfrm rot="1363288">
              <a:off x="5208588" y="290512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4" name="Oval 101"/>
            <p:cNvSpPr>
              <a:spLocks noChangeArrowheads="1"/>
            </p:cNvSpPr>
            <p:nvPr/>
          </p:nvSpPr>
          <p:spPr bwMode="auto">
            <a:xfrm rot="1363288">
              <a:off x="5481638" y="240188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5" name="Oval 102"/>
            <p:cNvSpPr>
              <a:spLocks noChangeArrowheads="1"/>
            </p:cNvSpPr>
            <p:nvPr/>
          </p:nvSpPr>
          <p:spPr bwMode="auto">
            <a:xfrm rot="1363288">
              <a:off x="5656263" y="3019425"/>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6" name="Oval 103"/>
            <p:cNvSpPr>
              <a:spLocks noChangeArrowheads="1"/>
            </p:cNvSpPr>
            <p:nvPr/>
          </p:nvSpPr>
          <p:spPr bwMode="auto">
            <a:xfrm rot="1363288">
              <a:off x="4746625" y="24844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7" name="Oval 104"/>
            <p:cNvSpPr>
              <a:spLocks noChangeArrowheads="1"/>
            </p:cNvSpPr>
            <p:nvPr/>
          </p:nvSpPr>
          <p:spPr bwMode="auto">
            <a:xfrm rot="1363288">
              <a:off x="4864100" y="2608263"/>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8" name="Oval 105"/>
            <p:cNvSpPr>
              <a:spLocks noChangeArrowheads="1"/>
            </p:cNvSpPr>
            <p:nvPr/>
          </p:nvSpPr>
          <p:spPr bwMode="auto">
            <a:xfrm rot="1363288">
              <a:off x="5683250" y="318293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09" name="Oval 107"/>
            <p:cNvSpPr>
              <a:spLocks noChangeArrowheads="1"/>
            </p:cNvSpPr>
            <p:nvPr/>
          </p:nvSpPr>
          <p:spPr bwMode="auto">
            <a:xfrm rot="1363288">
              <a:off x="4792663" y="289242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10" name="Oval 108"/>
            <p:cNvSpPr>
              <a:spLocks noChangeArrowheads="1"/>
            </p:cNvSpPr>
            <p:nvPr/>
          </p:nvSpPr>
          <p:spPr bwMode="auto">
            <a:xfrm rot="1363288">
              <a:off x="5043488" y="2608263"/>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11" name="Oval 110"/>
            <p:cNvSpPr>
              <a:spLocks noChangeArrowheads="1"/>
            </p:cNvSpPr>
            <p:nvPr/>
          </p:nvSpPr>
          <p:spPr bwMode="auto">
            <a:xfrm rot="1363288">
              <a:off x="5876925" y="2330450"/>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12" name="Oval 112"/>
            <p:cNvSpPr>
              <a:spLocks noChangeArrowheads="1"/>
            </p:cNvSpPr>
            <p:nvPr/>
          </p:nvSpPr>
          <p:spPr bwMode="auto">
            <a:xfrm>
              <a:off x="2303463" y="450850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13" name="Oval 113"/>
            <p:cNvSpPr>
              <a:spLocks noChangeArrowheads="1"/>
            </p:cNvSpPr>
            <p:nvPr/>
          </p:nvSpPr>
          <p:spPr bwMode="auto">
            <a:xfrm>
              <a:off x="2446338" y="4579938"/>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14" name="Oval 114"/>
            <p:cNvSpPr>
              <a:spLocks noChangeArrowheads="1"/>
            </p:cNvSpPr>
            <p:nvPr/>
          </p:nvSpPr>
          <p:spPr bwMode="auto">
            <a:xfrm>
              <a:off x="2625725" y="4508500"/>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15" name="Oval 115"/>
            <p:cNvSpPr>
              <a:spLocks noChangeArrowheads="1"/>
            </p:cNvSpPr>
            <p:nvPr/>
          </p:nvSpPr>
          <p:spPr bwMode="auto">
            <a:xfrm>
              <a:off x="2768600" y="457993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16" name="Freihandform 42"/>
            <p:cNvSpPr>
              <a:spLocks/>
            </p:cNvSpPr>
            <p:nvPr/>
          </p:nvSpPr>
          <p:spPr bwMode="auto">
            <a:xfrm>
              <a:off x="1136650" y="5248275"/>
              <a:ext cx="125413" cy="142875"/>
            </a:xfrm>
            <a:custGeom>
              <a:avLst/>
              <a:gdLst>
                <a:gd name="T0" fmla="*/ 229 w 162436"/>
                <a:gd name="T1" fmla="*/ 0 h 340280"/>
                <a:gd name="T2" fmla="*/ 477 w 162436"/>
                <a:gd name="T3" fmla="*/ 0 h 340280"/>
                <a:gd name="T4" fmla="*/ 578 w 162436"/>
                <a:gd name="T5" fmla="*/ 0 h 340280"/>
                <a:gd name="T6" fmla="*/ 628 w 162436"/>
                <a:gd name="T7" fmla="*/ 0 h 340280"/>
                <a:gd name="T8" fmla="*/ 728 w 162436"/>
                <a:gd name="T9" fmla="*/ 0 h 340280"/>
                <a:gd name="T10" fmla="*/ 1027 w 162436"/>
                <a:gd name="T11" fmla="*/ 0 h 340280"/>
                <a:gd name="T12" fmla="*/ 1076 w 162436"/>
                <a:gd name="T13" fmla="*/ 0 h 340280"/>
                <a:gd name="T14" fmla="*/ 1126 w 162436"/>
                <a:gd name="T15" fmla="*/ 0 h 340280"/>
                <a:gd name="T16" fmla="*/ 1176 w 162436"/>
                <a:gd name="T17" fmla="*/ 0 h 340280"/>
                <a:gd name="T18" fmla="*/ 1276 w 162436"/>
                <a:gd name="T19" fmla="*/ 0 h 340280"/>
                <a:gd name="T20" fmla="*/ 1227 w 162436"/>
                <a:gd name="T21" fmla="*/ 0 h 340280"/>
                <a:gd name="T22" fmla="*/ 1126 w 162436"/>
                <a:gd name="T23" fmla="*/ 0 h 340280"/>
                <a:gd name="T24" fmla="*/ 828 w 162436"/>
                <a:gd name="T25" fmla="*/ 0 h 340280"/>
                <a:gd name="T26" fmla="*/ 328 w 162436"/>
                <a:gd name="T27" fmla="*/ 0 h 340280"/>
                <a:gd name="T28" fmla="*/ 29 w 162436"/>
                <a:gd name="T29" fmla="*/ 0 h 340280"/>
                <a:gd name="T30" fmla="*/ 229 w 162436"/>
                <a:gd name="T31" fmla="*/ 0 h 3402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2436"/>
                <a:gd name="T49" fmla="*/ 0 h 340280"/>
                <a:gd name="T50" fmla="*/ 162436 w 162436"/>
                <a:gd name="T51" fmla="*/ 340280 h 34028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2436" h="340280">
                  <a:moveTo>
                    <a:pt x="29086" y="323850"/>
                  </a:moveTo>
                  <a:cubicBezTo>
                    <a:pt x="38611" y="313267"/>
                    <a:pt x="53548" y="284920"/>
                    <a:pt x="60836" y="266700"/>
                  </a:cubicBezTo>
                  <a:cubicBezTo>
                    <a:pt x="65808" y="254271"/>
                    <a:pt x="73536" y="228600"/>
                    <a:pt x="73536" y="228600"/>
                  </a:cubicBezTo>
                  <a:cubicBezTo>
                    <a:pt x="75653" y="175683"/>
                    <a:pt x="76242" y="122683"/>
                    <a:pt x="79886" y="69850"/>
                  </a:cubicBezTo>
                  <a:cubicBezTo>
                    <a:pt x="79898" y="69673"/>
                    <a:pt x="89582" y="28404"/>
                    <a:pt x="92586" y="25400"/>
                  </a:cubicBezTo>
                  <a:cubicBezTo>
                    <a:pt x="103379" y="14607"/>
                    <a:pt x="130686" y="0"/>
                    <a:pt x="130686" y="0"/>
                  </a:cubicBezTo>
                  <a:cubicBezTo>
                    <a:pt x="132803" y="6350"/>
                    <a:pt x="136401" y="12387"/>
                    <a:pt x="137036" y="19050"/>
                  </a:cubicBezTo>
                  <a:cubicBezTo>
                    <a:pt x="140654" y="57037"/>
                    <a:pt x="139931" y="95348"/>
                    <a:pt x="143386" y="133350"/>
                  </a:cubicBezTo>
                  <a:cubicBezTo>
                    <a:pt x="144176" y="142041"/>
                    <a:pt x="146298" y="150728"/>
                    <a:pt x="149736" y="158750"/>
                  </a:cubicBezTo>
                  <a:cubicBezTo>
                    <a:pt x="152742" y="165765"/>
                    <a:pt x="158203" y="171450"/>
                    <a:pt x="162436" y="177800"/>
                  </a:cubicBezTo>
                  <a:cubicBezTo>
                    <a:pt x="160319" y="198967"/>
                    <a:pt x="160006" y="220392"/>
                    <a:pt x="156086" y="241300"/>
                  </a:cubicBezTo>
                  <a:cubicBezTo>
                    <a:pt x="153619" y="254458"/>
                    <a:pt x="147619" y="266700"/>
                    <a:pt x="143386" y="279400"/>
                  </a:cubicBezTo>
                  <a:cubicBezTo>
                    <a:pt x="139153" y="292100"/>
                    <a:pt x="117986" y="287867"/>
                    <a:pt x="105286" y="292100"/>
                  </a:cubicBezTo>
                  <a:cubicBezTo>
                    <a:pt x="72037" y="303183"/>
                    <a:pt x="92862" y="297503"/>
                    <a:pt x="41786" y="304800"/>
                  </a:cubicBezTo>
                  <a:cubicBezTo>
                    <a:pt x="21814" y="311457"/>
                    <a:pt x="17276" y="309815"/>
                    <a:pt x="3686" y="330200"/>
                  </a:cubicBezTo>
                  <a:cubicBezTo>
                    <a:pt x="-10353" y="351258"/>
                    <a:pt x="19561" y="334433"/>
                    <a:pt x="29086" y="323850"/>
                  </a:cubicBezTo>
                  <a:close/>
                </a:path>
              </a:pathLst>
            </a:custGeom>
            <a:solidFill>
              <a:srgbClr val="00CC00"/>
            </a:solidFill>
            <a:ln w="19050">
              <a:solidFill>
                <a:srgbClr val="009600"/>
              </a:solidFill>
              <a:round/>
              <a:headEnd/>
              <a:tailEnd/>
            </a:ln>
          </p:spPr>
          <p:txBody>
            <a:bodyPr anchor="ctr"/>
            <a:lstStyle/>
            <a:p>
              <a:endParaRPr lang="de-DE"/>
            </a:p>
          </p:txBody>
        </p:sp>
        <p:sp>
          <p:nvSpPr>
            <p:cNvPr id="117" name="Freihandform 43"/>
            <p:cNvSpPr>
              <a:spLocks/>
            </p:cNvSpPr>
            <p:nvPr/>
          </p:nvSpPr>
          <p:spPr bwMode="auto">
            <a:xfrm>
              <a:off x="1073150" y="5276850"/>
              <a:ext cx="96838" cy="146050"/>
            </a:xfrm>
            <a:custGeom>
              <a:avLst/>
              <a:gdLst>
                <a:gd name="T0" fmla="*/ 0 w 228660"/>
                <a:gd name="T1" fmla="*/ 0 h 300716"/>
                <a:gd name="T2" fmla="*/ 0 w 228660"/>
                <a:gd name="T3" fmla="*/ 0 h 300716"/>
                <a:gd name="T4" fmla="*/ 0 w 228660"/>
                <a:gd name="T5" fmla="*/ 0 h 300716"/>
                <a:gd name="T6" fmla="*/ 0 w 228660"/>
                <a:gd name="T7" fmla="*/ 0 h 300716"/>
                <a:gd name="T8" fmla="*/ 0 w 228660"/>
                <a:gd name="T9" fmla="*/ 0 h 300716"/>
                <a:gd name="T10" fmla="*/ 0 w 228660"/>
                <a:gd name="T11" fmla="*/ 0 h 300716"/>
                <a:gd name="T12" fmla="*/ 0 w 228660"/>
                <a:gd name="T13" fmla="*/ 0 h 300716"/>
                <a:gd name="T14" fmla="*/ 0 w 228660"/>
                <a:gd name="T15" fmla="*/ 0 h 300716"/>
                <a:gd name="T16" fmla="*/ 0 w 228660"/>
                <a:gd name="T17" fmla="*/ 0 h 300716"/>
                <a:gd name="T18" fmla="*/ 0 w 228660"/>
                <a:gd name="T19" fmla="*/ 0 h 300716"/>
                <a:gd name="T20" fmla="*/ 0 w 228660"/>
                <a:gd name="T21" fmla="*/ 0 h 300716"/>
                <a:gd name="T22" fmla="*/ 0 w 228660"/>
                <a:gd name="T23" fmla="*/ 0 h 300716"/>
                <a:gd name="T24" fmla="*/ 0 w 228660"/>
                <a:gd name="T25" fmla="*/ 0 h 300716"/>
                <a:gd name="T26" fmla="*/ 0 w 228660"/>
                <a:gd name="T27" fmla="*/ 0 h 300716"/>
                <a:gd name="T28" fmla="*/ 0 w 228660"/>
                <a:gd name="T29" fmla="*/ 0 h 300716"/>
                <a:gd name="T30" fmla="*/ 0 w 228660"/>
                <a:gd name="T31" fmla="*/ 0 h 300716"/>
                <a:gd name="T32" fmla="*/ 0 w 228660"/>
                <a:gd name="T33" fmla="*/ 0 h 300716"/>
                <a:gd name="T34" fmla="*/ 0 w 228660"/>
                <a:gd name="T35" fmla="*/ 0 h 300716"/>
                <a:gd name="T36" fmla="*/ 0 w 228660"/>
                <a:gd name="T37" fmla="*/ 0 h 300716"/>
                <a:gd name="T38" fmla="*/ 0 w 228660"/>
                <a:gd name="T39" fmla="*/ 0 h 3007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8660"/>
                <a:gd name="T61" fmla="*/ 0 h 300716"/>
                <a:gd name="T62" fmla="*/ 228660 w 228660"/>
                <a:gd name="T63" fmla="*/ 300716 h 3007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8660" h="300716">
                  <a:moveTo>
                    <a:pt x="222252" y="292100"/>
                  </a:moveTo>
                  <a:cubicBezTo>
                    <a:pt x="221194" y="281517"/>
                    <a:pt x="219965" y="245274"/>
                    <a:pt x="215902" y="222250"/>
                  </a:cubicBezTo>
                  <a:cubicBezTo>
                    <a:pt x="211475" y="197165"/>
                    <a:pt x="195692" y="163940"/>
                    <a:pt x="177802" y="146050"/>
                  </a:cubicBezTo>
                  <a:cubicBezTo>
                    <a:pt x="171452" y="139700"/>
                    <a:pt x="163972" y="134308"/>
                    <a:pt x="158752" y="127000"/>
                  </a:cubicBezTo>
                  <a:cubicBezTo>
                    <a:pt x="134231" y="92671"/>
                    <a:pt x="161274" y="106674"/>
                    <a:pt x="127002" y="95250"/>
                  </a:cubicBezTo>
                  <a:cubicBezTo>
                    <a:pt x="117631" y="81193"/>
                    <a:pt x="109920" y="66929"/>
                    <a:pt x="95252" y="57150"/>
                  </a:cubicBezTo>
                  <a:cubicBezTo>
                    <a:pt x="89683" y="53437"/>
                    <a:pt x="82552" y="52917"/>
                    <a:pt x="76202" y="50800"/>
                  </a:cubicBezTo>
                  <a:cubicBezTo>
                    <a:pt x="69852" y="46567"/>
                    <a:pt x="63978" y="41513"/>
                    <a:pt x="57152" y="38100"/>
                  </a:cubicBezTo>
                  <a:cubicBezTo>
                    <a:pt x="4572" y="11810"/>
                    <a:pt x="73647" y="55446"/>
                    <a:pt x="19052" y="19050"/>
                  </a:cubicBezTo>
                  <a:cubicBezTo>
                    <a:pt x="14819" y="12700"/>
                    <a:pt x="13984" y="0"/>
                    <a:pt x="6352" y="0"/>
                  </a:cubicBezTo>
                  <a:cubicBezTo>
                    <a:pt x="-341" y="0"/>
                    <a:pt x="2" y="12357"/>
                    <a:pt x="2" y="19050"/>
                  </a:cubicBezTo>
                  <a:cubicBezTo>
                    <a:pt x="2" y="25818"/>
                    <a:pt x="7206" y="119549"/>
                    <a:pt x="12702" y="139700"/>
                  </a:cubicBezTo>
                  <a:cubicBezTo>
                    <a:pt x="16660" y="154212"/>
                    <a:pt x="30812" y="176356"/>
                    <a:pt x="44452" y="184150"/>
                  </a:cubicBezTo>
                  <a:cubicBezTo>
                    <a:pt x="52029" y="188480"/>
                    <a:pt x="61461" y="188102"/>
                    <a:pt x="69852" y="190500"/>
                  </a:cubicBezTo>
                  <a:cubicBezTo>
                    <a:pt x="119142" y="204583"/>
                    <a:pt x="50273" y="192987"/>
                    <a:pt x="152402" y="203200"/>
                  </a:cubicBezTo>
                  <a:cubicBezTo>
                    <a:pt x="156635" y="209550"/>
                    <a:pt x="159706" y="216854"/>
                    <a:pt x="165102" y="222250"/>
                  </a:cubicBezTo>
                  <a:cubicBezTo>
                    <a:pt x="170498" y="227646"/>
                    <a:pt x="179384" y="228991"/>
                    <a:pt x="184152" y="234950"/>
                  </a:cubicBezTo>
                  <a:cubicBezTo>
                    <a:pt x="188333" y="240177"/>
                    <a:pt x="187509" y="248013"/>
                    <a:pt x="190502" y="254000"/>
                  </a:cubicBezTo>
                  <a:cubicBezTo>
                    <a:pt x="201085" y="275167"/>
                    <a:pt x="203202" y="273050"/>
                    <a:pt x="222252" y="285750"/>
                  </a:cubicBezTo>
                  <a:cubicBezTo>
                    <a:pt x="236126" y="306561"/>
                    <a:pt x="223310" y="302683"/>
                    <a:pt x="222252" y="292100"/>
                  </a:cubicBezTo>
                  <a:close/>
                </a:path>
              </a:pathLst>
            </a:custGeom>
            <a:solidFill>
              <a:srgbClr val="00CC00"/>
            </a:solidFill>
            <a:ln w="19050">
              <a:solidFill>
                <a:srgbClr val="009600"/>
              </a:solidFill>
              <a:round/>
              <a:headEnd/>
              <a:tailEnd/>
            </a:ln>
          </p:spPr>
          <p:txBody>
            <a:bodyPr anchor="ctr"/>
            <a:lstStyle/>
            <a:p>
              <a:endParaRPr lang="de-DE"/>
            </a:p>
          </p:txBody>
        </p:sp>
        <p:sp>
          <p:nvSpPr>
            <p:cNvPr id="118" name="Freihandform 45"/>
            <p:cNvSpPr>
              <a:spLocks/>
            </p:cNvSpPr>
            <p:nvPr/>
          </p:nvSpPr>
          <p:spPr bwMode="auto">
            <a:xfrm>
              <a:off x="1497013" y="5260975"/>
              <a:ext cx="80962" cy="198438"/>
            </a:xfrm>
            <a:custGeom>
              <a:avLst/>
              <a:gdLst>
                <a:gd name="T0" fmla="*/ 0 w 190500"/>
                <a:gd name="T1" fmla="*/ 0 h 414514"/>
                <a:gd name="T2" fmla="*/ 0 w 190500"/>
                <a:gd name="T3" fmla="*/ 0 h 414514"/>
                <a:gd name="T4" fmla="*/ 0 w 190500"/>
                <a:gd name="T5" fmla="*/ 0 h 414514"/>
                <a:gd name="T6" fmla="*/ 0 w 190500"/>
                <a:gd name="T7" fmla="*/ 0 h 414514"/>
                <a:gd name="T8" fmla="*/ 0 w 190500"/>
                <a:gd name="T9" fmla="*/ 0 h 414514"/>
                <a:gd name="T10" fmla="*/ 0 w 190500"/>
                <a:gd name="T11" fmla="*/ 0 h 414514"/>
                <a:gd name="T12" fmla="*/ 0 w 190500"/>
                <a:gd name="T13" fmla="*/ 0 h 414514"/>
                <a:gd name="T14" fmla="*/ 0 w 190500"/>
                <a:gd name="T15" fmla="*/ 0 h 414514"/>
                <a:gd name="T16" fmla="*/ 0 w 190500"/>
                <a:gd name="T17" fmla="*/ 0 h 414514"/>
                <a:gd name="T18" fmla="*/ 0 w 190500"/>
                <a:gd name="T19" fmla="*/ 0 h 414514"/>
                <a:gd name="T20" fmla="*/ 0 w 190500"/>
                <a:gd name="T21" fmla="*/ 0 h 414514"/>
                <a:gd name="T22" fmla="*/ 0 w 190500"/>
                <a:gd name="T23" fmla="*/ 0 h 414514"/>
                <a:gd name="T24" fmla="*/ 0 w 190500"/>
                <a:gd name="T25" fmla="*/ 0 h 414514"/>
                <a:gd name="T26" fmla="*/ 0 w 190500"/>
                <a:gd name="T27" fmla="*/ 0 h 414514"/>
                <a:gd name="T28" fmla="*/ 0 w 190500"/>
                <a:gd name="T29" fmla="*/ 0 h 414514"/>
                <a:gd name="T30" fmla="*/ 0 w 190500"/>
                <a:gd name="T31" fmla="*/ 0 h 414514"/>
                <a:gd name="T32" fmla="*/ 0 w 190500"/>
                <a:gd name="T33" fmla="*/ 0 h 414514"/>
                <a:gd name="T34" fmla="*/ 0 w 190500"/>
                <a:gd name="T35" fmla="*/ 0 h 414514"/>
                <a:gd name="T36" fmla="*/ 0 w 190500"/>
                <a:gd name="T37" fmla="*/ 0 h 414514"/>
                <a:gd name="T38" fmla="*/ 0 w 190500"/>
                <a:gd name="T39" fmla="*/ 0 h 414514"/>
                <a:gd name="T40" fmla="*/ 0 w 190500"/>
                <a:gd name="T41" fmla="*/ 0 h 414514"/>
                <a:gd name="T42" fmla="*/ 0 w 190500"/>
                <a:gd name="T43" fmla="*/ 0 h 414514"/>
                <a:gd name="T44" fmla="*/ 0 w 190500"/>
                <a:gd name="T45" fmla="*/ 0 h 4145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0500"/>
                <a:gd name="T70" fmla="*/ 0 h 414514"/>
                <a:gd name="T71" fmla="*/ 190500 w 190500"/>
                <a:gd name="T72" fmla="*/ 414514 h 4145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0500" h="414514">
                  <a:moveTo>
                    <a:pt x="171450" y="412750"/>
                  </a:moveTo>
                  <a:cubicBezTo>
                    <a:pt x="164042" y="422275"/>
                    <a:pt x="155634" y="390584"/>
                    <a:pt x="146050" y="381000"/>
                  </a:cubicBezTo>
                  <a:cubicBezTo>
                    <a:pt x="140654" y="375604"/>
                    <a:pt x="131768" y="374259"/>
                    <a:pt x="127000" y="368300"/>
                  </a:cubicBezTo>
                  <a:cubicBezTo>
                    <a:pt x="122819" y="363073"/>
                    <a:pt x="124363" y="354819"/>
                    <a:pt x="120650" y="349250"/>
                  </a:cubicBezTo>
                  <a:cubicBezTo>
                    <a:pt x="110871" y="334582"/>
                    <a:pt x="96607" y="326871"/>
                    <a:pt x="82550" y="317500"/>
                  </a:cubicBezTo>
                  <a:cubicBezTo>
                    <a:pt x="78317" y="311150"/>
                    <a:pt x="73263" y="305276"/>
                    <a:pt x="69850" y="298450"/>
                  </a:cubicBezTo>
                  <a:cubicBezTo>
                    <a:pt x="66857" y="292463"/>
                    <a:pt x="66751" y="285251"/>
                    <a:pt x="63500" y="279400"/>
                  </a:cubicBezTo>
                  <a:cubicBezTo>
                    <a:pt x="56087" y="266057"/>
                    <a:pt x="42927" y="255780"/>
                    <a:pt x="38100" y="241300"/>
                  </a:cubicBezTo>
                  <a:cubicBezTo>
                    <a:pt x="23208" y="196624"/>
                    <a:pt x="42590" y="251777"/>
                    <a:pt x="19050" y="196850"/>
                  </a:cubicBezTo>
                  <a:cubicBezTo>
                    <a:pt x="12525" y="181625"/>
                    <a:pt x="10953" y="168512"/>
                    <a:pt x="6350" y="152400"/>
                  </a:cubicBezTo>
                  <a:cubicBezTo>
                    <a:pt x="4511" y="145964"/>
                    <a:pt x="2117" y="139700"/>
                    <a:pt x="0" y="133350"/>
                  </a:cubicBezTo>
                  <a:cubicBezTo>
                    <a:pt x="2117" y="103717"/>
                    <a:pt x="2879" y="73955"/>
                    <a:pt x="6350" y="44450"/>
                  </a:cubicBezTo>
                  <a:cubicBezTo>
                    <a:pt x="7132" y="37802"/>
                    <a:pt x="10861" y="31836"/>
                    <a:pt x="12700" y="25400"/>
                  </a:cubicBezTo>
                  <a:cubicBezTo>
                    <a:pt x="15098" y="17009"/>
                    <a:pt x="16933" y="8467"/>
                    <a:pt x="19050" y="0"/>
                  </a:cubicBezTo>
                  <a:cubicBezTo>
                    <a:pt x="21167" y="16933"/>
                    <a:pt x="21824" y="34114"/>
                    <a:pt x="25400" y="50800"/>
                  </a:cubicBezTo>
                  <a:cubicBezTo>
                    <a:pt x="30192" y="73164"/>
                    <a:pt x="36558" y="90860"/>
                    <a:pt x="50800" y="107950"/>
                  </a:cubicBezTo>
                  <a:cubicBezTo>
                    <a:pt x="56549" y="114849"/>
                    <a:pt x="62761" y="121487"/>
                    <a:pt x="69850" y="127000"/>
                  </a:cubicBezTo>
                  <a:cubicBezTo>
                    <a:pt x="81898" y="136371"/>
                    <a:pt x="107950" y="152400"/>
                    <a:pt x="107950" y="152400"/>
                  </a:cubicBezTo>
                  <a:cubicBezTo>
                    <a:pt x="119127" y="185930"/>
                    <a:pt x="110587" y="165881"/>
                    <a:pt x="139700" y="209550"/>
                  </a:cubicBezTo>
                  <a:cubicBezTo>
                    <a:pt x="147126" y="220689"/>
                    <a:pt x="148167" y="234950"/>
                    <a:pt x="152400" y="247650"/>
                  </a:cubicBezTo>
                  <a:cubicBezTo>
                    <a:pt x="157227" y="262130"/>
                    <a:pt x="172973" y="271270"/>
                    <a:pt x="177800" y="285750"/>
                  </a:cubicBezTo>
                  <a:lnTo>
                    <a:pt x="190500" y="323850"/>
                  </a:lnTo>
                  <a:cubicBezTo>
                    <a:pt x="183988" y="408510"/>
                    <a:pt x="178858" y="403225"/>
                    <a:pt x="171450" y="412750"/>
                  </a:cubicBezTo>
                  <a:close/>
                </a:path>
              </a:pathLst>
            </a:custGeom>
            <a:solidFill>
              <a:srgbClr val="00CC00"/>
            </a:solidFill>
            <a:ln w="19050">
              <a:solidFill>
                <a:srgbClr val="009600"/>
              </a:solidFill>
              <a:round/>
              <a:headEnd/>
              <a:tailEnd/>
            </a:ln>
          </p:spPr>
          <p:txBody>
            <a:bodyPr anchor="ctr"/>
            <a:lstStyle/>
            <a:p>
              <a:endParaRPr lang="de-DE"/>
            </a:p>
          </p:txBody>
        </p:sp>
        <p:sp>
          <p:nvSpPr>
            <p:cNvPr id="119" name="Freihandform 46"/>
            <p:cNvSpPr>
              <a:spLocks/>
            </p:cNvSpPr>
            <p:nvPr/>
          </p:nvSpPr>
          <p:spPr bwMode="auto">
            <a:xfrm>
              <a:off x="1577975" y="5334000"/>
              <a:ext cx="152400" cy="130175"/>
            </a:xfrm>
            <a:custGeom>
              <a:avLst/>
              <a:gdLst>
                <a:gd name="T0" fmla="*/ 0 w 260350"/>
                <a:gd name="T1" fmla="*/ 3 h 241300"/>
                <a:gd name="T2" fmla="*/ 1 w 260350"/>
                <a:gd name="T3" fmla="*/ 2 h 241300"/>
                <a:gd name="T4" fmla="*/ 2 w 260350"/>
                <a:gd name="T5" fmla="*/ 2 h 241300"/>
                <a:gd name="T6" fmla="*/ 3 w 260350"/>
                <a:gd name="T7" fmla="*/ 2 h 241300"/>
                <a:gd name="T8" fmla="*/ 4 w 260350"/>
                <a:gd name="T9" fmla="*/ 2 h 241300"/>
                <a:gd name="T10" fmla="*/ 5 w 260350"/>
                <a:gd name="T11" fmla="*/ 2 h 241300"/>
                <a:gd name="T12" fmla="*/ 5 w 260350"/>
                <a:gd name="T13" fmla="*/ 1 h 241300"/>
                <a:gd name="T14" fmla="*/ 6 w 260350"/>
                <a:gd name="T15" fmla="*/ 1 h 241300"/>
                <a:gd name="T16" fmla="*/ 8 w 260350"/>
                <a:gd name="T17" fmla="*/ 1 h 241300"/>
                <a:gd name="T18" fmla="*/ 9 w 260350"/>
                <a:gd name="T19" fmla="*/ 1 h 241300"/>
                <a:gd name="T20" fmla="*/ 11 w 260350"/>
                <a:gd name="T21" fmla="*/ 0 h 241300"/>
                <a:gd name="T22" fmla="*/ 11 w 260350"/>
                <a:gd name="T23" fmla="*/ 0 h 241300"/>
                <a:gd name="T24" fmla="*/ 11 w 260350"/>
                <a:gd name="T25" fmla="*/ 1 h 241300"/>
                <a:gd name="T26" fmla="*/ 10 w 260350"/>
                <a:gd name="T27" fmla="*/ 1 h 241300"/>
                <a:gd name="T28" fmla="*/ 10 w 260350"/>
                <a:gd name="T29" fmla="*/ 1 h 241300"/>
                <a:gd name="T30" fmla="*/ 9 w 260350"/>
                <a:gd name="T31" fmla="*/ 1 h 241300"/>
                <a:gd name="T32" fmla="*/ 9 w 260350"/>
                <a:gd name="T33" fmla="*/ 2 h 241300"/>
                <a:gd name="T34" fmla="*/ 8 w 260350"/>
                <a:gd name="T35" fmla="*/ 2 h 241300"/>
                <a:gd name="T36" fmla="*/ 5 w 260350"/>
                <a:gd name="T37" fmla="*/ 2 h 241300"/>
                <a:gd name="T38" fmla="*/ 4 w 260350"/>
                <a:gd name="T39" fmla="*/ 2 h 241300"/>
                <a:gd name="T40" fmla="*/ 1 w 260350"/>
                <a:gd name="T41" fmla="*/ 3 h 241300"/>
                <a:gd name="T42" fmla="*/ 1 w 260350"/>
                <a:gd name="T43" fmla="*/ 3 h 241300"/>
                <a:gd name="T44" fmla="*/ 0 w 260350"/>
                <a:gd name="T45" fmla="*/ 3 h 2413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0350"/>
                <a:gd name="T70" fmla="*/ 0 h 241300"/>
                <a:gd name="T71" fmla="*/ 260350 w 260350"/>
                <a:gd name="T72" fmla="*/ 241300 h 2413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0350" h="241300">
                  <a:moveTo>
                    <a:pt x="0" y="234950"/>
                  </a:moveTo>
                  <a:cubicBezTo>
                    <a:pt x="10583" y="228600"/>
                    <a:pt x="22379" y="223932"/>
                    <a:pt x="31750" y="215900"/>
                  </a:cubicBezTo>
                  <a:cubicBezTo>
                    <a:pt x="37544" y="210933"/>
                    <a:pt x="39564" y="202713"/>
                    <a:pt x="44450" y="196850"/>
                  </a:cubicBezTo>
                  <a:cubicBezTo>
                    <a:pt x="50199" y="189951"/>
                    <a:pt x="56682" y="183644"/>
                    <a:pt x="63500" y="177800"/>
                  </a:cubicBezTo>
                  <a:cubicBezTo>
                    <a:pt x="71535" y="170912"/>
                    <a:pt x="81416" y="166234"/>
                    <a:pt x="88900" y="158750"/>
                  </a:cubicBezTo>
                  <a:cubicBezTo>
                    <a:pt x="110043" y="137607"/>
                    <a:pt x="95038" y="143891"/>
                    <a:pt x="107950" y="120650"/>
                  </a:cubicBezTo>
                  <a:cubicBezTo>
                    <a:pt x="115363" y="107307"/>
                    <a:pt x="128523" y="97030"/>
                    <a:pt x="133350" y="82550"/>
                  </a:cubicBezTo>
                  <a:cubicBezTo>
                    <a:pt x="138941" y="65776"/>
                    <a:pt x="148724" y="30859"/>
                    <a:pt x="165100" y="25400"/>
                  </a:cubicBezTo>
                  <a:lnTo>
                    <a:pt x="203200" y="12700"/>
                  </a:lnTo>
                  <a:cubicBezTo>
                    <a:pt x="209550" y="10583"/>
                    <a:pt x="215648" y="7450"/>
                    <a:pt x="222250" y="6350"/>
                  </a:cubicBezTo>
                  <a:lnTo>
                    <a:pt x="260350" y="0"/>
                  </a:lnTo>
                  <a:cubicBezTo>
                    <a:pt x="257732" y="10471"/>
                    <a:pt x="256618" y="21279"/>
                    <a:pt x="254000" y="31750"/>
                  </a:cubicBezTo>
                  <a:cubicBezTo>
                    <a:pt x="252377" y="38244"/>
                    <a:pt x="249489" y="44364"/>
                    <a:pt x="247650" y="50800"/>
                  </a:cubicBezTo>
                  <a:cubicBezTo>
                    <a:pt x="245252" y="59191"/>
                    <a:pt x="243698" y="67809"/>
                    <a:pt x="241300" y="76200"/>
                  </a:cubicBezTo>
                  <a:cubicBezTo>
                    <a:pt x="239461" y="82636"/>
                    <a:pt x="236789" y="88814"/>
                    <a:pt x="234950" y="95250"/>
                  </a:cubicBezTo>
                  <a:cubicBezTo>
                    <a:pt x="232552" y="103641"/>
                    <a:pt x="230896" y="112230"/>
                    <a:pt x="228600" y="120650"/>
                  </a:cubicBezTo>
                  <a:cubicBezTo>
                    <a:pt x="222685" y="142337"/>
                    <a:pt x="224323" y="171460"/>
                    <a:pt x="196850" y="177800"/>
                  </a:cubicBezTo>
                  <a:cubicBezTo>
                    <a:pt x="176123" y="182583"/>
                    <a:pt x="154517" y="182033"/>
                    <a:pt x="133350" y="184150"/>
                  </a:cubicBezTo>
                  <a:cubicBezTo>
                    <a:pt x="127371" y="185645"/>
                    <a:pt x="96353" y="192709"/>
                    <a:pt x="88900" y="196850"/>
                  </a:cubicBezTo>
                  <a:lnTo>
                    <a:pt x="31750" y="234950"/>
                  </a:lnTo>
                  <a:cubicBezTo>
                    <a:pt x="26181" y="238663"/>
                    <a:pt x="19050" y="239183"/>
                    <a:pt x="12700" y="241300"/>
                  </a:cubicBezTo>
                  <a:lnTo>
                    <a:pt x="0" y="234950"/>
                  </a:lnTo>
                  <a:close/>
                </a:path>
              </a:pathLst>
            </a:custGeom>
            <a:solidFill>
              <a:srgbClr val="00CC00"/>
            </a:solidFill>
            <a:ln w="19050">
              <a:solidFill>
                <a:srgbClr val="008000"/>
              </a:solidFill>
              <a:round/>
              <a:headEnd/>
              <a:tailEnd/>
            </a:ln>
          </p:spPr>
          <p:txBody>
            <a:bodyPr anchor="ctr"/>
            <a:lstStyle/>
            <a:p>
              <a:endParaRPr lang="de-DE"/>
            </a:p>
          </p:txBody>
        </p:sp>
        <p:sp>
          <p:nvSpPr>
            <p:cNvPr id="120" name="Freihandform 47"/>
            <p:cNvSpPr>
              <a:spLocks/>
            </p:cNvSpPr>
            <p:nvPr/>
          </p:nvSpPr>
          <p:spPr bwMode="auto">
            <a:xfrm>
              <a:off x="1943100" y="5184775"/>
              <a:ext cx="106363" cy="234950"/>
            </a:xfrm>
            <a:custGeom>
              <a:avLst/>
              <a:gdLst>
                <a:gd name="T0" fmla="*/ 1 w 198553"/>
                <a:gd name="T1" fmla="*/ 0 h 499184"/>
                <a:gd name="T2" fmla="*/ 1 w 198553"/>
                <a:gd name="T3" fmla="*/ 0 h 499184"/>
                <a:gd name="T4" fmla="*/ 1 w 198553"/>
                <a:gd name="T5" fmla="*/ 0 h 499184"/>
                <a:gd name="T6" fmla="*/ 1 w 198553"/>
                <a:gd name="T7" fmla="*/ 0 h 499184"/>
                <a:gd name="T8" fmla="*/ 1 w 198553"/>
                <a:gd name="T9" fmla="*/ 0 h 499184"/>
                <a:gd name="T10" fmla="*/ 1 w 198553"/>
                <a:gd name="T11" fmla="*/ 0 h 499184"/>
                <a:gd name="T12" fmla="*/ 1 w 198553"/>
                <a:gd name="T13" fmla="*/ 0 h 499184"/>
                <a:gd name="T14" fmla="*/ 1 w 198553"/>
                <a:gd name="T15" fmla="*/ 0 h 499184"/>
                <a:gd name="T16" fmla="*/ 1 w 198553"/>
                <a:gd name="T17" fmla="*/ 0 h 499184"/>
                <a:gd name="T18" fmla="*/ 1 w 198553"/>
                <a:gd name="T19" fmla="*/ 0 h 499184"/>
                <a:gd name="T20" fmla="*/ 1 w 198553"/>
                <a:gd name="T21" fmla="*/ 0 h 499184"/>
                <a:gd name="T22" fmla="*/ 1 w 198553"/>
                <a:gd name="T23" fmla="*/ 0 h 499184"/>
                <a:gd name="T24" fmla="*/ 1 w 198553"/>
                <a:gd name="T25" fmla="*/ 0 h 499184"/>
                <a:gd name="T26" fmla="*/ 1 w 198553"/>
                <a:gd name="T27" fmla="*/ 0 h 499184"/>
                <a:gd name="T28" fmla="*/ 1 w 198553"/>
                <a:gd name="T29" fmla="*/ 0 h 499184"/>
                <a:gd name="T30" fmla="*/ 1 w 198553"/>
                <a:gd name="T31" fmla="*/ 0 h 499184"/>
                <a:gd name="T32" fmla="*/ 1 w 198553"/>
                <a:gd name="T33" fmla="*/ 0 h 499184"/>
                <a:gd name="T34" fmla="*/ 1 w 198553"/>
                <a:gd name="T35" fmla="*/ 0 h 499184"/>
                <a:gd name="T36" fmla="*/ 1 w 198553"/>
                <a:gd name="T37" fmla="*/ 0 h 499184"/>
                <a:gd name="T38" fmla="*/ 2 w 198553"/>
                <a:gd name="T39" fmla="*/ 0 h 499184"/>
                <a:gd name="T40" fmla="*/ 2 w 198553"/>
                <a:gd name="T41" fmla="*/ 0 h 499184"/>
                <a:gd name="T42" fmla="*/ 2 w 198553"/>
                <a:gd name="T43" fmla="*/ 0 h 499184"/>
                <a:gd name="T44" fmla="*/ 2 w 198553"/>
                <a:gd name="T45" fmla="*/ 0 h 499184"/>
                <a:gd name="T46" fmla="*/ 1 w 198553"/>
                <a:gd name="T47" fmla="*/ 0 h 499184"/>
                <a:gd name="T48" fmla="*/ 1 w 198553"/>
                <a:gd name="T49" fmla="*/ 0 h 499184"/>
                <a:gd name="T50" fmla="*/ 1 w 198553"/>
                <a:gd name="T51" fmla="*/ 0 h 4991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8553"/>
                <a:gd name="T79" fmla="*/ 0 h 499184"/>
                <a:gd name="T80" fmla="*/ 198553 w 198553"/>
                <a:gd name="T81" fmla="*/ 499184 h 4991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8553" h="499184">
                  <a:moveTo>
                    <a:pt x="116003" y="498322"/>
                  </a:moveTo>
                  <a:cubicBezTo>
                    <a:pt x="116003" y="504672"/>
                    <a:pt x="133485" y="474334"/>
                    <a:pt x="135053" y="460222"/>
                  </a:cubicBezTo>
                  <a:cubicBezTo>
                    <a:pt x="137868" y="434890"/>
                    <a:pt x="131681" y="409335"/>
                    <a:pt x="128703" y="384022"/>
                  </a:cubicBezTo>
                  <a:cubicBezTo>
                    <a:pt x="125439" y="356280"/>
                    <a:pt x="118682" y="341258"/>
                    <a:pt x="109653" y="314172"/>
                  </a:cubicBezTo>
                  <a:lnTo>
                    <a:pt x="103303" y="295122"/>
                  </a:lnTo>
                  <a:cubicBezTo>
                    <a:pt x="101186" y="288772"/>
                    <a:pt x="100666" y="281641"/>
                    <a:pt x="96953" y="276072"/>
                  </a:cubicBezTo>
                  <a:lnTo>
                    <a:pt x="46153" y="199872"/>
                  </a:lnTo>
                  <a:lnTo>
                    <a:pt x="33453" y="180822"/>
                  </a:lnTo>
                  <a:cubicBezTo>
                    <a:pt x="26027" y="169683"/>
                    <a:pt x="24986" y="155422"/>
                    <a:pt x="20753" y="142722"/>
                  </a:cubicBezTo>
                  <a:lnTo>
                    <a:pt x="14403" y="123672"/>
                  </a:lnTo>
                  <a:lnTo>
                    <a:pt x="8053" y="104622"/>
                  </a:lnTo>
                  <a:lnTo>
                    <a:pt x="1703" y="85572"/>
                  </a:lnTo>
                  <a:cubicBezTo>
                    <a:pt x="3820" y="58055"/>
                    <a:pt x="-6764" y="26305"/>
                    <a:pt x="8053" y="3022"/>
                  </a:cubicBezTo>
                  <a:cubicBezTo>
                    <a:pt x="15240" y="-8272"/>
                    <a:pt x="46153" y="15722"/>
                    <a:pt x="46153" y="15722"/>
                  </a:cubicBezTo>
                  <a:cubicBezTo>
                    <a:pt x="52503" y="22072"/>
                    <a:pt x="57406" y="30317"/>
                    <a:pt x="65203" y="34772"/>
                  </a:cubicBezTo>
                  <a:cubicBezTo>
                    <a:pt x="72780" y="39102"/>
                    <a:pt x="82212" y="38724"/>
                    <a:pt x="90603" y="41122"/>
                  </a:cubicBezTo>
                  <a:cubicBezTo>
                    <a:pt x="97039" y="42961"/>
                    <a:pt x="103303" y="45355"/>
                    <a:pt x="109653" y="47472"/>
                  </a:cubicBezTo>
                  <a:cubicBezTo>
                    <a:pt x="160453" y="81339"/>
                    <a:pt x="99070" y="36889"/>
                    <a:pt x="141403" y="79222"/>
                  </a:cubicBezTo>
                  <a:cubicBezTo>
                    <a:pt x="146799" y="84618"/>
                    <a:pt x="154103" y="87689"/>
                    <a:pt x="160453" y="91922"/>
                  </a:cubicBezTo>
                  <a:cubicBezTo>
                    <a:pt x="166803" y="100389"/>
                    <a:pt x="173894" y="108347"/>
                    <a:pt x="179503" y="117322"/>
                  </a:cubicBezTo>
                  <a:cubicBezTo>
                    <a:pt x="190713" y="135257"/>
                    <a:pt x="192380" y="143253"/>
                    <a:pt x="198553" y="161772"/>
                  </a:cubicBezTo>
                  <a:cubicBezTo>
                    <a:pt x="196436" y="206222"/>
                    <a:pt x="197117" y="250894"/>
                    <a:pt x="192203" y="295122"/>
                  </a:cubicBezTo>
                  <a:cubicBezTo>
                    <a:pt x="187522" y="337248"/>
                    <a:pt x="180981" y="323916"/>
                    <a:pt x="166803" y="352272"/>
                  </a:cubicBezTo>
                  <a:cubicBezTo>
                    <a:pt x="163810" y="358259"/>
                    <a:pt x="163446" y="365335"/>
                    <a:pt x="160453" y="371322"/>
                  </a:cubicBezTo>
                  <a:cubicBezTo>
                    <a:pt x="146927" y="398374"/>
                    <a:pt x="142377" y="385500"/>
                    <a:pt x="135053" y="422122"/>
                  </a:cubicBezTo>
                  <a:cubicBezTo>
                    <a:pt x="132977" y="432500"/>
                    <a:pt x="116003" y="491972"/>
                    <a:pt x="116003" y="498322"/>
                  </a:cubicBezTo>
                  <a:close/>
                </a:path>
              </a:pathLst>
            </a:custGeom>
            <a:solidFill>
              <a:srgbClr val="00CC00"/>
            </a:solidFill>
            <a:ln w="25400">
              <a:solidFill>
                <a:srgbClr val="009600"/>
              </a:solidFill>
              <a:round/>
              <a:headEnd/>
              <a:tailEnd/>
            </a:ln>
          </p:spPr>
          <p:txBody>
            <a:bodyPr anchor="ctr"/>
            <a:lstStyle/>
            <a:p>
              <a:endParaRPr lang="de-DE"/>
            </a:p>
          </p:txBody>
        </p:sp>
        <p:sp>
          <p:nvSpPr>
            <p:cNvPr id="121" name="Freihandform 48"/>
            <p:cNvSpPr>
              <a:spLocks/>
            </p:cNvSpPr>
            <p:nvPr/>
          </p:nvSpPr>
          <p:spPr bwMode="auto">
            <a:xfrm>
              <a:off x="2011363" y="5226050"/>
              <a:ext cx="136525" cy="200025"/>
            </a:xfrm>
            <a:custGeom>
              <a:avLst/>
              <a:gdLst>
                <a:gd name="T0" fmla="*/ 0 w 243653"/>
                <a:gd name="T1" fmla="*/ 0 h 419569"/>
                <a:gd name="T2" fmla="*/ 1 w 243653"/>
                <a:gd name="T3" fmla="*/ 0 h 419569"/>
                <a:gd name="T4" fmla="*/ 1 w 243653"/>
                <a:gd name="T5" fmla="*/ 0 h 419569"/>
                <a:gd name="T6" fmla="*/ 1 w 243653"/>
                <a:gd name="T7" fmla="*/ 0 h 419569"/>
                <a:gd name="T8" fmla="*/ 1 w 243653"/>
                <a:gd name="T9" fmla="*/ 0 h 419569"/>
                <a:gd name="T10" fmla="*/ 1 w 243653"/>
                <a:gd name="T11" fmla="*/ 0 h 419569"/>
                <a:gd name="T12" fmla="*/ 1 w 243653"/>
                <a:gd name="T13" fmla="*/ 0 h 419569"/>
                <a:gd name="T14" fmla="*/ 1 w 243653"/>
                <a:gd name="T15" fmla="*/ 0 h 419569"/>
                <a:gd name="T16" fmla="*/ 1 w 243653"/>
                <a:gd name="T17" fmla="*/ 0 h 419569"/>
                <a:gd name="T18" fmla="*/ 2 w 243653"/>
                <a:gd name="T19" fmla="*/ 0 h 419569"/>
                <a:gd name="T20" fmla="*/ 2 w 243653"/>
                <a:gd name="T21" fmla="*/ 0 h 419569"/>
                <a:gd name="T22" fmla="*/ 3 w 243653"/>
                <a:gd name="T23" fmla="*/ 0 h 419569"/>
                <a:gd name="T24" fmla="*/ 3 w 243653"/>
                <a:gd name="T25" fmla="*/ 0 h 419569"/>
                <a:gd name="T26" fmla="*/ 4 w 243653"/>
                <a:gd name="T27" fmla="*/ 0 h 419569"/>
                <a:gd name="T28" fmla="*/ 4 w 243653"/>
                <a:gd name="T29" fmla="*/ 0 h 419569"/>
                <a:gd name="T30" fmla="*/ 4 w 243653"/>
                <a:gd name="T31" fmla="*/ 0 h 419569"/>
                <a:gd name="T32" fmla="*/ 4 w 243653"/>
                <a:gd name="T33" fmla="*/ 0 h 419569"/>
                <a:gd name="T34" fmla="*/ 3 w 243653"/>
                <a:gd name="T35" fmla="*/ 0 h 419569"/>
                <a:gd name="T36" fmla="*/ 3 w 243653"/>
                <a:gd name="T37" fmla="*/ 0 h 419569"/>
                <a:gd name="T38" fmla="*/ 3 w 243653"/>
                <a:gd name="T39" fmla="*/ 0 h 419569"/>
                <a:gd name="T40" fmla="*/ 3 w 243653"/>
                <a:gd name="T41" fmla="*/ 0 h 419569"/>
                <a:gd name="T42" fmla="*/ 3 w 243653"/>
                <a:gd name="T43" fmla="*/ 0 h 419569"/>
                <a:gd name="T44" fmla="*/ 2 w 243653"/>
                <a:gd name="T45" fmla="*/ 0 h 419569"/>
                <a:gd name="T46" fmla="*/ 2 w 243653"/>
                <a:gd name="T47" fmla="*/ 0 h 419569"/>
                <a:gd name="T48" fmla="*/ 1 w 243653"/>
                <a:gd name="T49" fmla="*/ 0 h 419569"/>
                <a:gd name="T50" fmla="*/ 1 w 243653"/>
                <a:gd name="T51" fmla="*/ 0 h 419569"/>
                <a:gd name="T52" fmla="*/ 1 w 243653"/>
                <a:gd name="T53" fmla="*/ 0 h 419569"/>
                <a:gd name="T54" fmla="*/ 0 w 243653"/>
                <a:gd name="T55" fmla="*/ 0 h 41956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43653"/>
                <a:gd name="T85" fmla="*/ 0 h 419569"/>
                <a:gd name="T86" fmla="*/ 243653 w 243653"/>
                <a:gd name="T87" fmla="*/ 419569 h 41956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43653" h="419569">
                  <a:moveTo>
                    <a:pt x="0" y="419100"/>
                  </a:moveTo>
                  <a:cubicBezTo>
                    <a:pt x="0" y="423333"/>
                    <a:pt x="3732" y="397821"/>
                    <a:pt x="6350" y="387350"/>
                  </a:cubicBezTo>
                  <a:cubicBezTo>
                    <a:pt x="7973" y="380856"/>
                    <a:pt x="10861" y="374736"/>
                    <a:pt x="12700" y="368300"/>
                  </a:cubicBezTo>
                  <a:cubicBezTo>
                    <a:pt x="15098" y="359909"/>
                    <a:pt x="16933" y="351367"/>
                    <a:pt x="19050" y="342900"/>
                  </a:cubicBezTo>
                  <a:cubicBezTo>
                    <a:pt x="21167" y="319617"/>
                    <a:pt x="22094" y="296194"/>
                    <a:pt x="25400" y="273050"/>
                  </a:cubicBezTo>
                  <a:cubicBezTo>
                    <a:pt x="26347" y="266424"/>
                    <a:pt x="29911" y="260436"/>
                    <a:pt x="31750" y="254000"/>
                  </a:cubicBezTo>
                  <a:cubicBezTo>
                    <a:pt x="34148" y="245609"/>
                    <a:pt x="35702" y="236991"/>
                    <a:pt x="38100" y="228600"/>
                  </a:cubicBezTo>
                  <a:cubicBezTo>
                    <a:pt x="39939" y="222164"/>
                    <a:pt x="42611" y="215986"/>
                    <a:pt x="44450" y="209550"/>
                  </a:cubicBezTo>
                  <a:cubicBezTo>
                    <a:pt x="44516" y="209319"/>
                    <a:pt x="54105" y="168145"/>
                    <a:pt x="57150" y="165100"/>
                  </a:cubicBezTo>
                  <a:cubicBezTo>
                    <a:pt x="78985" y="143265"/>
                    <a:pt x="90345" y="141335"/>
                    <a:pt x="114300" y="133350"/>
                  </a:cubicBezTo>
                  <a:cubicBezTo>
                    <a:pt x="120650" y="129117"/>
                    <a:pt x="126724" y="124436"/>
                    <a:pt x="133350" y="120650"/>
                  </a:cubicBezTo>
                  <a:cubicBezTo>
                    <a:pt x="141569" y="115954"/>
                    <a:pt x="151047" y="113452"/>
                    <a:pt x="158750" y="107950"/>
                  </a:cubicBezTo>
                  <a:cubicBezTo>
                    <a:pt x="195160" y="81943"/>
                    <a:pt x="162652" y="97698"/>
                    <a:pt x="190500" y="69850"/>
                  </a:cubicBezTo>
                  <a:cubicBezTo>
                    <a:pt x="195896" y="64454"/>
                    <a:pt x="203200" y="61383"/>
                    <a:pt x="209550" y="57150"/>
                  </a:cubicBezTo>
                  <a:cubicBezTo>
                    <a:pt x="224649" y="11854"/>
                    <a:pt x="203239" y="66616"/>
                    <a:pt x="234950" y="19050"/>
                  </a:cubicBezTo>
                  <a:cubicBezTo>
                    <a:pt x="238663" y="13481"/>
                    <a:pt x="247993" y="0"/>
                    <a:pt x="241300" y="0"/>
                  </a:cubicBezTo>
                  <a:cubicBezTo>
                    <a:pt x="230717" y="0"/>
                    <a:pt x="224367" y="12700"/>
                    <a:pt x="215900" y="19050"/>
                  </a:cubicBezTo>
                  <a:cubicBezTo>
                    <a:pt x="185719" y="109592"/>
                    <a:pt x="216044" y="15372"/>
                    <a:pt x="196850" y="82550"/>
                  </a:cubicBezTo>
                  <a:cubicBezTo>
                    <a:pt x="195011" y="88986"/>
                    <a:pt x="191952" y="95066"/>
                    <a:pt x="190500" y="101600"/>
                  </a:cubicBezTo>
                  <a:cubicBezTo>
                    <a:pt x="187707" y="114169"/>
                    <a:pt x="186267" y="127000"/>
                    <a:pt x="184150" y="139700"/>
                  </a:cubicBezTo>
                  <a:cubicBezTo>
                    <a:pt x="182033" y="177800"/>
                    <a:pt x="182533" y="216136"/>
                    <a:pt x="177800" y="254000"/>
                  </a:cubicBezTo>
                  <a:cubicBezTo>
                    <a:pt x="176140" y="267284"/>
                    <a:pt x="176239" y="284674"/>
                    <a:pt x="165100" y="292100"/>
                  </a:cubicBezTo>
                  <a:cubicBezTo>
                    <a:pt x="158750" y="296333"/>
                    <a:pt x="153222" y="302192"/>
                    <a:pt x="146050" y="304800"/>
                  </a:cubicBezTo>
                  <a:cubicBezTo>
                    <a:pt x="129646" y="310765"/>
                    <a:pt x="95250" y="317500"/>
                    <a:pt x="95250" y="317500"/>
                  </a:cubicBezTo>
                  <a:cubicBezTo>
                    <a:pt x="82550" y="315383"/>
                    <a:pt x="69719" y="313943"/>
                    <a:pt x="57150" y="311150"/>
                  </a:cubicBezTo>
                  <a:cubicBezTo>
                    <a:pt x="50616" y="309698"/>
                    <a:pt x="43547" y="300909"/>
                    <a:pt x="38100" y="304800"/>
                  </a:cubicBezTo>
                  <a:cubicBezTo>
                    <a:pt x="28845" y="311411"/>
                    <a:pt x="8818" y="344671"/>
                    <a:pt x="6350" y="361950"/>
                  </a:cubicBezTo>
                  <a:cubicBezTo>
                    <a:pt x="5153" y="370332"/>
                    <a:pt x="0" y="414867"/>
                    <a:pt x="0" y="419100"/>
                  </a:cubicBezTo>
                  <a:close/>
                </a:path>
              </a:pathLst>
            </a:custGeom>
            <a:solidFill>
              <a:srgbClr val="00CC00"/>
            </a:solidFill>
            <a:ln w="25400">
              <a:solidFill>
                <a:srgbClr val="008000"/>
              </a:solidFill>
              <a:round/>
              <a:headEnd/>
              <a:tailEnd/>
            </a:ln>
          </p:spPr>
          <p:txBody>
            <a:bodyPr anchor="ctr"/>
            <a:lstStyle/>
            <a:p>
              <a:endParaRPr lang="de-DE"/>
            </a:p>
          </p:txBody>
        </p:sp>
        <p:sp>
          <p:nvSpPr>
            <p:cNvPr id="122" name="Freihandform 49"/>
            <p:cNvSpPr>
              <a:spLocks/>
            </p:cNvSpPr>
            <p:nvPr/>
          </p:nvSpPr>
          <p:spPr bwMode="auto">
            <a:xfrm>
              <a:off x="1873250" y="5233988"/>
              <a:ext cx="138113" cy="211137"/>
            </a:xfrm>
            <a:custGeom>
              <a:avLst/>
              <a:gdLst>
                <a:gd name="T0" fmla="*/ 1 w 274315"/>
                <a:gd name="T1" fmla="*/ 2 h 413093"/>
                <a:gd name="T2" fmla="*/ 1 w 274315"/>
                <a:gd name="T3" fmla="*/ 2 h 413093"/>
                <a:gd name="T4" fmla="*/ 1 w 274315"/>
                <a:gd name="T5" fmla="*/ 2 h 413093"/>
                <a:gd name="T6" fmla="*/ 1 w 274315"/>
                <a:gd name="T7" fmla="*/ 2 h 413093"/>
                <a:gd name="T8" fmla="*/ 1 w 274315"/>
                <a:gd name="T9" fmla="*/ 2 h 413093"/>
                <a:gd name="T10" fmla="*/ 1 w 274315"/>
                <a:gd name="T11" fmla="*/ 1 h 413093"/>
                <a:gd name="T12" fmla="*/ 1 w 274315"/>
                <a:gd name="T13" fmla="*/ 1 h 413093"/>
                <a:gd name="T14" fmla="*/ 1 w 274315"/>
                <a:gd name="T15" fmla="*/ 1 h 413093"/>
                <a:gd name="T16" fmla="*/ 1 w 274315"/>
                <a:gd name="T17" fmla="*/ 1 h 413093"/>
                <a:gd name="T18" fmla="*/ 1 w 274315"/>
                <a:gd name="T19" fmla="*/ 1 h 413093"/>
                <a:gd name="T20" fmla="*/ 1 w 274315"/>
                <a:gd name="T21" fmla="*/ 1 h 413093"/>
                <a:gd name="T22" fmla="*/ 1 w 274315"/>
                <a:gd name="T23" fmla="*/ 1 h 413093"/>
                <a:gd name="T24" fmla="*/ 1 w 274315"/>
                <a:gd name="T25" fmla="*/ 1 h 413093"/>
                <a:gd name="T26" fmla="*/ 1 w 274315"/>
                <a:gd name="T27" fmla="*/ 1 h 413093"/>
                <a:gd name="T28" fmla="*/ 1 w 274315"/>
                <a:gd name="T29" fmla="*/ 1 h 413093"/>
                <a:gd name="T30" fmla="*/ 1 w 274315"/>
                <a:gd name="T31" fmla="*/ 1 h 413093"/>
                <a:gd name="T32" fmla="*/ 1 w 274315"/>
                <a:gd name="T33" fmla="*/ 1 h 413093"/>
                <a:gd name="T34" fmla="*/ 1 w 274315"/>
                <a:gd name="T35" fmla="*/ 1 h 413093"/>
                <a:gd name="T36" fmla="*/ 1 w 274315"/>
                <a:gd name="T37" fmla="*/ 1 h 413093"/>
                <a:gd name="T38" fmla="*/ 0 w 274315"/>
                <a:gd name="T39" fmla="*/ 1 h 413093"/>
                <a:gd name="T40" fmla="*/ 1 w 274315"/>
                <a:gd name="T41" fmla="*/ 1 h 413093"/>
                <a:gd name="T42" fmla="*/ 1 w 274315"/>
                <a:gd name="T43" fmla="*/ 1 h 413093"/>
                <a:gd name="T44" fmla="*/ 1 w 274315"/>
                <a:gd name="T45" fmla="*/ 1 h 413093"/>
                <a:gd name="T46" fmla="*/ 1 w 274315"/>
                <a:gd name="T47" fmla="*/ 1 h 413093"/>
                <a:gd name="T48" fmla="*/ 1 w 274315"/>
                <a:gd name="T49" fmla="*/ 1 h 413093"/>
                <a:gd name="T50" fmla="*/ 1 w 274315"/>
                <a:gd name="T51" fmla="*/ 1 h 413093"/>
                <a:gd name="T52" fmla="*/ 1 w 274315"/>
                <a:gd name="T53" fmla="*/ 2 h 413093"/>
                <a:gd name="T54" fmla="*/ 1 w 274315"/>
                <a:gd name="T55" fmla="*/ 2 h 413093"/>
                <a:gd name="T56" fmla="*/ 1 w 274315"/>
                <a:gd name="T57" fmla="*/ 2 h 413093"/>
                <a:gd name="T58" fmla="*/ 1 w 274315"/>
                <a:gd name="T59" fmla="*/ 2 h 413093"/>
                <a:gd name="T60" fmla="*/ 1 w 274315"/>
                <a:gd name="T61" fmla="*/ 2 h 41309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4315"/>
                <a:gd name="T94" fmla="*/ 0 h 413093"/>
                <a:gd name="T95" fmla="*/ 274315 w 274315"/>
                <a:gd name="T96" fmla="*/ 413093 h 41309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4315" h="413093">
                  <a:moveTo>
                    <a:pt x="241300" y="412954"/>
                  </a:moveTo>
                  <a:cubicBezTo>
                    <a:pt x="239183" y="415071"/>
                    <a:pt x="252866" y="392546"/>
                    <a:pt x="254000" y="381204"/>
                  </a:cubicBezTo>
                  <a:cubicBezTo>
                    <a:pt x="256626" y="354941"/>
                    <a:pt x="246348" y="345194"/>
                    <a:pt x="228600" y="330404"/>
                  </a:cubicBezTo>
                  <a:cubicBezTo>
                    <a:pt x="222737" y="325518"/>
                    <a:pt x="216376" y="321117"/>
                    <a:pt x="209550" y="317704"/>
                  </a:cubicBezTo>
                  <a:cubicBezTo>
                    <a:pt x="203563" y="314711"/>
                    <a:pt x="196850" y="313471"/>
                    <a:pt x="190500" y="311354"/>
                  </a:cubicBezTo>
                  <a:cubicBezTo>
                    <a:pt x="186267" y="305004"/>
                    <a:pt x="183196" y="297700"/>
                    <a:pt x="177800" y="292304"/>
                  </a:cubicBezTo>
                  <a:cubicBezTo>
                    <a:pt x="155787" y="270291"/>
                    <a:pt x="159597" y="291034"/>
                    <a:pt x="146050" y="260554"/>
                  </a:cubicBezTo>
                  <a:lnTo>
                    <a:pt x="127000" y="203404"/>
                  </a:lnTo>
                  <a:cubicBezTo>
                    <a:pt x="124587" y="196164"/>
                    <a:pt x="119186" y="190217"/>
                    <a:pt x="114300" y="184354"/>
                  </a:cubicBezTo>
                  <a:cubicBezTo>
                    <a:pt x="108551" y="177455"/>
                    <a:pt x="100763" y="172393"/>
                    <a:pt x="95250" y="165304"/>
                  </a:cubicBezTo>
                  <a:cubicBezTo>
                    <a:pt x="85879" y="153256"/>
                    <a:pt x="69850" y="127204"/>
                    <a:pt x="69850" y="127204"/>
                  </a:cubicBezTo>
                  <a:cubicBezTo>
                    <a:pt x="67733" y="118737"/>
                    <a:pt x="65898" y="110195"/>
                    <a:pt x="63500" y="101804"/>
                  </a:cubicBezTo>
                  <a:cubicBezTo>
                    <a:pt x="61661" y="95368"/>
                    <a:pt x="58463" y="89318"/>
                    <a:pt x="57150" y="82754"/>
                  </a:cubicBezTo>
                  <a:cubicBezTo>
                    <a:pt x="54215" y="68078"/>
                    <a:pt x="53477" y="53030"/>
                    <a:pt x="50800" y="38304"/>
                  </a:cubicBezTo>
                  <a:cubicBezTo>
                    <a:pt x="49239" y="29718"/>
                    <a:pt x="49291" y="20166"/>
                    <a:pt x="44450" y="12904"/>
                  </a:cubicBezTo>
                  <a:cubicBezTo>
                    <a:pt x="40217" y="6554"/>
                    <a:pt x="20004" y="5600"/>
                    <a:pt x="25400" y="204"/>
                  </a:cubicBezTo>
                  <a:cubicBezTo>
                    <a:pt x="27393" y="-1789"/>
                    <a:pt x="65453" y="11438"/>
                    <a:pt x="69850" y="12904"/>
                  </a:cubicBezTo>
                  <a:cubicBezTo>
                    <a:pt x="61383" y="17137"/>
                    <a:pt x="52153" y="20102"/>
                    <a:pt x="44450" y="25604"/>
                  </a:cubicBezTo>
                  <a:cubicBezTo>
                    <a:pt x="16363" y="45666"/>
                    <a:pt x="31448" y="38908"/>
                    <a:pt x="19050" y="63704"/>
                  </a:cubicBezTo>
                  <a:cubicBezTo>
                    <a:pt x="-5569" y="112943"/>
                    <a:pt x="15961" y="53921"/>
                    <a:pt x="0" y="101804"/>
                  </a:cubicBezTo>
                  <a:cubicBezTo>
                    <a:pt x="2118" y="122982"/>
                    <a:pt x="3283" y="165593"/>
                    <a:pt x="12700" y="190704"/>
                  </a:cubicBezTo>
                  <a:cubicBezTo>
                    <a:pt x="16024" y="199567"/>
                    <a:pt x="19340" y="208832"/>
                    <a:pt x="25400" y="216104"/>
                  </a:cubicBezTo>
                  <a:cubicBezTo>
                    <a:pt x="31128" y="222977"/>
                    <a:pt x="63917" y="239131"/>
                    <a:pt x="69850" y="241504"/>
                  </a:cubicBezTo>
                  <a:cubicBezTo>
                    <a:pt x="82279" y="246476"/>
                    <a:pt x="107950" y="254204"/>
                    <a:pt x="107950" y="254204"/>
                  </a:cubicBezTo>
                  <a:cubicBezTo>
                    <a:pt x="162545" y="290600"/>
                    <a:pt x="93470" y="246964"/>
                    <a:pt x="146050" y="273254"/>
                  </a:cubicBezTo>
                  <a:cubicBezTo>
                    <a:pt x="195289" y="297873"/>
                    <a:pt x="136267" y="276343"/>
                    <a:pt x="184150" y="292304"/>
                  </a:cubicBezTo>
                  <a:cubicBezTo>
                    <a:pt x="234950" y="326171"/>
                    <a:pt x="173567" y="281721"/>
                    <a:pt x="215900" y="324054"/>
                  </a:cubicBezTo>
                  <a:cubicBezTo>
                    <a:pt x="221296" y="329450"/>
                    <a:pt x="228600" y="332521"/>
                    <a:pt x="234950" y="336754"/>
                  </a:cubicBezTo>
                  <a:cubicBezTo>
                    <a:pt x="239183" y="343104"/>
                    <a:pt x="242254" y="350408"/>
                    <a:pt x="247650" y="355804"/>
                  </a:cubicBezTo>
                  <a:cubicBezTo>
                    <a:pt x="253046" y="361200"/>
                    <a:pt x="261932" y="362545"/>
                    <a:pt x="266700" y="368504"/>
                  </a:cubicBezTo>
                  <a:cubicBezTo>
                    <a:pt x="292856" y="401199"/>
                    <a:pt x="243417" y="410837"/>
                    <a:pt x="241300" y="412954"/>
                  </a:cubicBezTo>
                  <a:close/>
                </a:path>
              </a:pathLst>
            </a:custGeom>
            <a:solidFill>
              <a:srgbClr val="00CC00"/>
            </a:solidFill>
            <a:ln w="25400">
              <a:solidFill>
                <a:srgbClr val="009600"/>
              </a:solidFill>
              <a:round/>
              <a:headEnd/>
              <a:tailEnd/>
            </a:ln>
          </p:spPr>
          <p:txBody>
            <a:bodyPr anchor="ctr"/>
            <a:lstStyle/>
            <a:p>
              <a:endParaRPr lang="de-DE"/>
            </a:p>
          </p:txBody>
        </p:sp>
        <p:sp>
          <p:nvSpPr>
            <p:cNvPr id="123" name="Freihandform 50"/>
            <p:cNvSpPr>
              <a:spLocks/>
            </p:cNvSpPr>
            <p:nvPr/>
          </p:nvSpPr>
          <p:spPr bwMode="auto">
            <a:xfrm>
              <a:off x="2011363" y="5368925"/>
              <a:ext cx="268287" cy="76200"/>
            </a:xfrm>
            <a:custGeom>
              <a:avLst/>
              <a:gdLst>
                <a:gd name="T0" fmla="*/ 29 w 400963"/>
                <a:gd name="T1" fmla="*/ 0 h 176036"/>
                <a:gd name="T2" fmla="*/ 52 w 400963"/>
                <a:gd name="T3" fmla="*/ 0 h 176036"/>
                <a:gd name="T4" fmla="*/ 56 w 400963"/>
                <a:gd name="T5" fmla="*/ 0 h 176036"/>
                <a:gd name="T6" fmla="*/ 75 w 400963"/>
                <a:gd name="T7" fmla="*/ 0 h 176036"/>
                <a:gd name="T8" fmla="*/ 88 w 400963"/>
                <a:gd name="T9" fmla="*/ 0 h 176036"/>
                <a:gd name="T10" fmla="*/ 98 w 400963"/>
                <a:gd name="T11" fmla="*/ 0 h 176036"/>
                <a:gd name="T12" fmla="*/ 170 w 400963"/>
                <a:gd name="T13" fmla="*/ 0 h 176036"/>
                <a:gd name="T14" fmla="*/ 199 w 400963"/>
                <a:gd name="T15" fmla="*/ 0 h 176036"/>
                <a:gd name="T16" fmla="*/ 199 w 400963"/>
                <a:gd name="T17" fmla="*/ 0 h 176036"/>
                <a:gd name="T18" fmla="*/ 193 w 400963"/>
                <a:gd name="T19" fmla="*/ 0 h 176036"/>
                <a:gd name="T20" fmla="*/ 189 w 400963"/>
                <a:gd name="T21" fmla="*/ 0 h 176036"/>
                <a:gd name="T22" fmla="*/ 177 w 400963"/>
                <a:gd name="T23" fmla="*/ 0 h 176036"/>
                <a:gd name="T24" fmla="*/ 167 w 400963"/>
                <a:gd name="T25" fmla="*/ 0 h 176036"/>
                <a:gd name="T26" fmla="*/ 157 w 400963"/>
                <a:gd name="T27" fmla="*/ 0 h 176036"/>
                <a:gd name="T28" fmla="*/ 128 w 400963"/>
                <a:gd name="T29" fmla="*/ 0 h 176036"/>
                <a:gd name="T30" fmla="*/ 105 w 400963"/>
                <a:gd name="T31" fmla="*/ 0 h 176036"/>
                <a:gd name="T32" fmla="*/ 94 w 400963"/>
                <a:gd name="T33" fmla="*/ 0 h 176036"/>
                <a:gd name="T34" fmla="*/ 75 w 400963"/>
                <a:gd name="T35" fmla="*/ 0 h 176036"/>
                <a:gd name="T36" fmla="*/ 29 w 400963"/>
                <a:gd name="T37" fmla="*/ 0 h 176036"/>
                <a:gd name="T38" fmla="*/ 10 w 400963"/>
                <a:gd name="T39" fmla="*/ 0 h 176036"/>
                <a:gd name="T40" fmla="*/ 3 w 400963"/>
                <a:gd name="T41" fmla="*/ 0 h 176036"/>
                <a:gd name="T42" fmla="*/ 1 w 400963"/>
                <a:gd name="T43" fmla="*/ 0 h 176036"/>
                <a:gd name="T44" fmla="*/ 29 w 400963"/>
                <a:gd name="T45" fmla="*/ 0 h 1760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0963"/>
                <a:gd name="T70" fmla="*/ 0 h 176036"/>
                <a:gd name="T71" fmla="*/ 400963 w 400963"/>
                <a:gd name="T72" fmla="*/ 176036 h 1760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0963" h="176036">
                  <a:moveTo>
                    <a:pt x="57483" y="171855"/>
                  </a:moveTo>
                  <a:cubicBezTo>
                    <a:pt x="74416" y="161272"/>
                    <a:pt x="69687" y="150374"/>
                    <a:pt x="101933" y="102005"/>
                  </a:cubicBezTo>
                  <a:cubicBezTo>
                    <a:pt x="105646" y="96436"/>
                    <a:pt x="104102" y="88182"/>
                    <a:pt x="108283" y="82955"/>
                  </a:cubicBezTo>
                  <a:cubicBezTo>
                    <a:pt x="116529" y="72648"/>
                    <a:pt x="134453" y="67313"/>
                    <a:pt x="146383" y="63905"/>
                  </a:cubicBezTo>
                  <a:cubicBezTo>
                    <a:pt x="154774" y="61507"/>
                    <a:pt x="163392" y="59953"/>
                    <a:pt x="171783" y="57555"/>
                  </a:cubicBezTo>
                  <a:cubicBezTo>
                    <a:pt x="178219" y="55716"/>
                    <a:pt x="184161" y="51739"/>
                    <a:pt x="190833" y="51205"/>
                  </a:cubicBezTo>
                  <a:cubicBezTo>
                    <a:pt x="237299" y="47488"/>
                    <a:pt x="283966" y="46972"/>
                    <a:pt x="330533" y="44855"/>
                  </a:cubicBezTo>
                  <a:cubicBezTo>
                    <a:pt x="375873" y="29742"/>
                    <a:pt x="357494" y="39581"/>
                    <a:pt x="387683" y="19455"/>
                  </a:cubicBezTo>
                  <a:cubicBezTo>
                    <a:pt x="407809" y="-10734"/>
                    <a:pt x="402796" y="-6835"/>
                    <a:pt x="387683" y="38505"/>
                  </a:cubicBezTo>
                  <a:lnTo>
                    <a:pt x="374983" y="76605"/>
                  </a:lnTo>
                  <a:cubicBezTo>
                    <a:pt x="372866" y="82955"/>
                    <a:pt x="374620" y="92662"/>
                    <a:pt x="368633" y="95655"/>
                  </a:cubicBezTo>
                  <a:cubicBezTo>
                    <a:pt x="360166" y="99888"/>
                    <a:pt x="351452" y="103659"/>
                    <a:pt x="343233" y="108355"/>
                  </a:cubicBezTo>
                  <a:cubicBezTo>
                    <a:pt x="336607" y="112141"/>
                    <a:pt x="331009" y="117642"/>
                    <a:pt x="324183" y="121055"/>
                  </a:cubicBezTo>
                  <a:cubicBezTo>
                    <a:pt x="318196" y="124048"/>
                    <a:pt x="311569" y="125566"/>
                    <a:pt x="305133" y="127405"/>
                  </a:cubicBezTo>
                  <a:cubicBezTo>
                    <a:pt x="284208" y="133383"/>
                    <a:pt x="269807" y="135740"/>
                    <a:pt x="247983" y="140105"/>
                  </a:cubicBezTo>
                  <a:cubicBezTo>
                    <a:pt x="239845" y="138070"/>
                    <a:pt x="212643" y="131960"/>
                    <a:pt x="203533" y="127405"/>
                  </a:cubicBezTo>
                  <a:cubicBezTo>
                    <a:pt x="196707" y="123992"/>
                    <a:pt x="191723" y="117118"/>
                    <a:pt x="184483" y="114705"/>
                  </a:cubicBezTo>
                  <a:cubicBezTo>
                    <a:pt x="172269" y="110634"/>
                    <a:pt x="159116" y="110265"/>
                    <a:pt x="146383" y="108355"/>
                  </a:cubicBezTo>
                  <a:lnTo>
                    <a:pt x="57483" y="95655"/>
                  </a:lnTo>
                  <a:cubicBezTo>
                    <a:pt x="44783" y="97772"/>
                    <a:pt x="29073" y="93527"/>
                    <a:pt x="19383" y="102005"/>
                  </a:cubicBezTo>
                  <a:cubicBezTo>
                    <a:pt x="9308" y="110820"/>
                    <a:pt x="10916" y="127405"/>
                    <a:pt x="6683" y="140105"/>
                  </a:cubicBezTo>
                  <a:cubicBezTo>
                    <a:pt x="3923" y="148384"/>
                    <a:pt x="-1379" y="156947"/>
                    <a:pt x="333" y="165505"/>
                  </a:cubicBezTo>
                  <a:cubicBezTo>
                    <a:pt x="1261" y="170146"/>
                    <a:pt x="40550" y="182438"/>
                    <a:pt x="57483" y="171855"/>
                  </a:cubicBezTo>
                  <a:close/>
                </a:path>
              </a:pathLst>
            </a:custGeom>
            <a:solidFill>
              <a:srgbClr val="00CC00"/>
            </a:solidFill>
            <a:ln w="25400">
              <a:solidFill>
                <a:srgbClr val="008000"/>
              </a:solidFill>
              <a:round/>
              <a:headEnd/>
              <a:tailEnd/>
            </a:ln>
          </p:spPr>
          <p:txBody>
            <a:bodyPr anchor="ctr"/>
            <a:lstStyle/>
            <a:p>
              <a:endParaRPr lang="de-DE"/>
            </a:p>
          </p:txBody>
        </p:sp>
        <p:sp>
          <p:nvSpPr>
            <p:cNvPr id="124" name="Freihandform 54"/>
            <p:cNvSpPr>
              <a:spLocks/>
            </p:cNvSpPr>
            <p:nvPr/>
          </p:nvSpPr>
          <p:spPr bwMode="auto">
            <a:xfrm>
              <a:off x="2444750" y="5156200"/>
              <a:ext cx="88900" cy="288925"/>
            </a:xfrm>
            <a:custGeom>
              <a:avLst/>
              <a:gdLst>
                <a:gd name="T0" fmla="*/ 0 w 178287"/>
                <a:gd name="T1" fmla="*/ 17 h 504806"/>
                <a:gd name="T2" fmla="*/ 0 w 178287"/>
                <a:gd name="T3" fmla="*/ 15 h 504806"/>
                <a:gd name="T4" fmla="*/ 0 w 178287"/>
                <a:gd name="T5" fmla="*/ 15 h 504806"/>
                <a:gd name="T6" fmla="*/ 0 w 178287"/>
                <a:gd name="T7" fmla="*/ 9 h 504806"/>
                <a:gd name="T8" fmla="*/ 0 w 178287"/>
                <a:gd name="T9" fmla="*/ 8 h 504806"/>
                <a:gd name="T10" fmla="*/ 0 w 178287"/>
                <a:gd name="T11" fmla="*/ 6 h 504806"/>
                <a:gd name="T12" fmla="*/ 0 w 178287"/>
                <a:gd name="T13" fmla="*/ 6 h 504806"/>
                <a:gd name="T14" fmla="*/ 0 w 178287"/>
                <a:gd name="T15" fmla="*/ 3 h 504806"/>
                <a:gd name="T16" fmla="*/ 0 w 178287"/>
                <a:gd name="T17" fmla="*/ 3 h 504806"/>
                <a:gd name="T18" fmla="*/ 0 w 178287"/>
                <a:gd name="T19" fmla="*/ 2 h 504806"/>
                <a:gd name="T20" fmla="*/ 0 w 178287"/>
                <a:gd name="T21" fmla="*/ 1 h 504806"/>
                <a:gd name="T22" fmla="*/ 0 w 178287"/>
                <a:gd name="T23" fmla="*/ 0 h 504806"/>
                <a:gd name="T24" fmla="*/ 0 w 178287"/>
                <a:gd name="T25" fmla="*/ 2 h 504806"/>
                <a:gd name="T26" fmla="*/ 0 w 178287"/>
                <a:gd name="T27" fmla="*/ 3 h 504806"/>
                <a:gd name="T28" fmla="*/ 0 w 178287"/>
                <a:gd name="T29" fmla="*/ 4 h 504806"/>
                <a:gd name="T30" fmla="*/ 0 w 178287"/>
                <a:gd name="T31" fmla="*/ 6 h 504806"/>
                <a:gd name="T32" fmla="*/ 0 w 178287"/>
                <a:gd name="T33" fmla="*/ 6 h 504806"/>
                <a:gd name="T34" fmla="*/ 0 w 178287"/>
                <a:gd name="T35" fmla="*/ 9 h 504806"/>
                <a:gd name="T36" fmla="*/ 0 w 178287"/>
                <a:gd name="T37" fmla="*/ 10 h 504806"/>
                <a:gd name="T38" fmla="*/ 0 w 178287"/>
                <a:gd name="T39" fmla="*/ 10 h 504806"/>
                <a:gd name="T40" fmla="*/ 0 w 178287"/>
                <a:gd name="T41" fmla="*/ 11 h 504806"/>
                <a:gd name="T42" fmla="*/ 0 w 178287"/>
                <a:gd name="T43" fmla="*/ 12 h 504806"/>
                <a:gd name="T44" fmla="*/ 0 w 178287"/>
                <a:gd name="T45" fmla="*/ 13 h 504806"/>
                <a:gd name="T46" fmla="*/ 0 w 178287"/>
                <a:gd name="T47" fmla="*/ 13 h 504806"/>
                <a:gd name="T48" fmla="*/ 0 w 178287"/>
                <a:gd name="T49" fmla="*/ 17 h 50480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8287"/>
                <a:gd name="T76" fmla="*/ 0 h 504806"/>
                <a:gd name="T77" fmla="*/ 178287 w 178287"/>
                <a:gd name="T78" fmla="*/ 504806 h 50480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8287" h="504806">
                  <a:moveTo>
                    <a:pt x="57637" y="501650"/>
                  </a:moveTo>
                  <a:cubicBezTo>
                    <a:pt x="57637" y="515408"/>
                    <a:pt x="61369" y="480371"/>
                    <a:pt x="63987" y="469900"/>
                  </a:cubicBezTo>
                  <a:cubicBezTo>
                    <a:pt x="65610" y="463406"/>
                    <a:pt x="70337" y="457543"/>
                    <a:pt x="70337" y="450850"/>
                  </a:cubicBezTo>
                  <a:cubicBezTo>
                    <a:pt x="70337" y="436223"/>
                    <a:pt x="65911" y="318014"/>
                    <a:pt x="57637" y="279400"/>
                  </a:cubicBezTo>
                  <a:cubicBezTo>
                    <a:pt x="54832" y="266310"/>
                    <a:pt x="49170" y="254000"/>
                    <a:pt x="44937" y="241300"/>
                  </a:cubicBezTo>
                  <a:cubicBezTo>
                    <a:pt x="43526" y="237066"/>
                    <a:pt x="36314" y="202965"/>
                    <a:pt x="32237" y="196850"/>
                  </a:cubicBezTo>
                  <a:cubicBezTo>
                    <a:pt x="27256" y="189378"/>
                    <a:pt x="19537" y="184150"/>
                    <a:pt x="13187" y="177800"/>
                  </a:cubicBezTo>
                  <a:cubicBezTo>
                    <a:pt x="3754" y="149500"/>
                    <a:pt x="-7524" y="136671"/>
                    <a:pt x="6837" y="107950"/>
                  </a:cubicBezTo>
                  <a:cubicBezTo>
                    <a:pt x="10853" y="99918"/>
                    <a:pt x="18579" y="94120"/>
                    <a:pt x="25887" y="88900"/>
                  </a:cubicBezTo>
                  <a:cubicBezTo>
                    <a:pt x="33590" y="83398"/>
                    <a:pt x="42820" y="80433"/>
                    <a:pt x="51287" y="76200"/>
                  </a:cubicBezTo>
                  <a:cubicBezTo>
                    <a:pt x="71413" y="46011"/>
                    <a:pt x="61574" y="64390"/>
                    <a:pt x="76687" y="19050"/>
                  </a:cubicBezTo>
                  <a:lnTo>
                    <a:pt x="83037" y="0"/>
                  </a:lnTo>
                  <a:cubicBezTo>
                    <a:pt x="84532" y="5979"/>
                    <a:pt x="91596" y="36997"/>
                    <a:pt x="95737" y="44450"/>
                  </a:cubicBezTo>
                  <a:cubicBezTo>
                    <a:pt x="101489" y="54804"/>
                    <a:pt x="129673" y="95683"/>
                    <a:pt x="140187" y="107950"/>
                  </a:cubicBezTo>
                  <a:cubicBezTo>
                    <a:pt x="146031" y="114768"/>
                    <a:pt x="152887" y="120650"/>
                    <a:pt x="159237" y="127000"/>
                  </a:cubicBezTo>
                  <a:lnTo>
                    <a:pt x="171937" y="165100"/>
                  </a:lnTo>
                  <a:lnTo>
                    <a:pt x="178287" y="184150"/>
                  </a:lnTo>
                  <a:cubicBezTo>
                    <a:pt x="176170" y="207433"/>
                    <a:pt x="175243" y="230856"/>
                    <a:pt x="171937" y="254000"/>
                  </a:cubicBezTo>
                  <a:cubicBezTo>
                    <a:pt x="168745" y="276345"/>
                    <a:pt x="162948" y="271979"/>
                    <a:pt x="152887" y="292100"/>
                  </a:cubicBezTo>
                  <a:cubicBezTo>
                    <a:pt x="149894" y="298087"/>
                    <a:pt x="149530" y="305163"/>
                    <a:pt x="146537" y="311150"/>
                  </a:cubicBezTo>
                  <a:cubicBezTo>
                    <a:pt x="139401" y="325421"/>
                    <a:pt x="126824" y="339219"/>
                    <a:pt x="114787" y="349250"/>
                  </a:cubicBezTo>
                  <a:cubicBezTo>
                    <a:pt x="108924" y="354136"/>
                    <a:pt x="102087" y="357717"/>
                    <a:pt x="95737" y="361950"/>
                  </a:cubicBezTo>
                  <a:cubicBezTo>
                    <a:pt x="91504" y="368300"/>
                    <a:pt x="88996" y="376232"/>
                    <a:pt x="83037" y="381000"/>
                  </a:cubicBezTo>
                  <a:cubicBezTo>
                    <a:pt x="77810" y="385181"/>
                    <a:pt x="65610" y="380856"/>
                    <a:pt x="63987" y="387350"/>
                  </a:cubicBezTo>
                  <a:cubicBezTo>
                    <a:pt x="41030" y="479177"/>
                    <a:pt x="57637" y="487892"/>
                    <a:pt x="57637" y="501650"/>
                  </a:cubicBezTo>
                  <a:close/>
                </a:path>
              </a:pathLst>
            </a:custGeom>
            <a:solidFill>
              <a:srgbClr val="00CC00"/>
            </a:solidFill>
            <a:ln w="19050">
              <a:solidFill>
                <a:srgbClr val="008000"/>
              </a:solidFill>
              <a:miter lim="800000"/>
              <a:headEnd/>
              <a:tailEnd/>
            </a:ln>
          </p:spPr>
          <p:txBody>
            <a:bodyPr lIns="86026" tIns="43013" rIns="86026" bIns="43013" anchor="ctr"/>
            <a:lstStyle/>
            <a:p>
              <a:endParaRPr lang="de-DE"/>
            </a:p>
          </p:txBody>
        </p:sp>
        <p:sp>
          <p:nvSpPr>
            <p:cNvPr id="125" name="Freihandform 55"/>
            <p:cNvSpPr>
              <a:spLocks/>
            </p:cNvSpPr>
            <p:nvPr/>
          </p:nvSpPr>
          <p:spPr bwMode="auto">
            <a:xfrm>
              <a:off x="2382838" y="5280025"/>
              <a:ext cx="104775" cy="165100"/>
            </a:xfrm>
            <a:custGeom>
              <a:avLst/>
              <a:gdLst>
                <a:gd name="T0" fmla="*/ 0 w 228660"/>
                <a:gd name="T1" fmla="*/ 4 h 300716"/>
                <a:gd name="T2" fmla="*/ 0 w 228660"/>
                <a:gd name="T3" fmla="*/ 3 h 300716"/>
                <a:gd name="T4" fmla="*/ 0 w 228660"/>
                <a:gd name="T5" fmla="*/ 2 h 300716"/>
                <a:gd name="T6" fmla="*/ 0 w 228660"/>
                <a:gd name="T7" fmla="*/ 2 h 300716"/>
                <a:gd name="T8" fmla="*/ 0 w 228660"/>
                <a:gd name="T9" fmla="*/ 2 h 300716"/>
                <a:gd name="T10" fmla="*/ 0 w 228660"/>
                <a:gd name="T11" fmla="*/ 1 h 300716"/>
                <a:gd name="T12" fmla="*/ 0 w 228660"/>
                <a:gd name="T13" fmla="*/ 1 h 300716"/>
                <a:gd name="T14" fmla="*/ 0 w 228660"/>
                <a:gd name="T15" fmla="*/ 1 h 300716"/>
                <a:gd name="T16" fmla="*/ 0 w 228660"/>
                <a:gd name="T17" fmla="*/ 1 h 300716"/>
                <a:gd name="T18" fmla="*/ 0 w 228660"/>
                <a:gd name="T19" fmla="*/ 0 h 300716"/>
                <a:gd name="T20" fmla="*/ 0 w 228660"/>
                <a:gd name="T21" fmla="*/ 1 h 300716"/>
                <a:gd name="T22" fmla="*/ 0 w 228660"/>
                <a:gd name="T23" fmla="*/ 2 h 300716"/>
                <a:gd name="T24" fmla="*/ 0 w 228660"/>
                <a:gd name="T25" fmla="*/ 3 h 300716"/>
                <a:gd name="T26" fmla="*/ 0 w 228660"/>
                <a:gd name="T27" fmla="*/ 3 h 300716"/>
                <a:gd name="T28" fmla="*/ 0 w 228660"/>
                <a:gd name="T29" fmla="*/ 3 h 300716"/>
                <a:gd name="T30" fmla="*/ 0 w 228660"/>
                <a:gd name="T31" fmla="*/ 3 h 300716"/>
                <a:gd name="T32" fmla="*/ 0 w 228660"/>
                <a:gd name="T33" fmla="*/ 4 h 300716"/>
                <a:gd name="T34" fmla="*/ 0 w 228660"/>
                <a:gd name="T35" fmla="*/ 4 h 300716"/>
                <a:gd name="T36" fmla="*/ 0 w 228660"/>
                <a:gd name="T37" fmla="*/ 4 h 300716"/>
                <a:gd name="T38" fmla="*/ 0 w 228660"/>
                <a:gd name="T39" fmla="*/ 4 h 3007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8660"/>
                <a:gd name="T61" fmla="*/ 0 h 300716"/>
                <a:gd name="T62" fmla="*/ 228660 w 228660"/>
                <a:gd name="T63" fmla="*/ 300716 h 3007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8660" h="300716">
                  <a:moveTo>
                    <a:pt x="443066" y="275618"/>
                  </a:moveTo>
                  <a:cubicBezTo>
                    <a:pt x="442784" y="269498"/>
                    <a:pt x="442345" y="263392"/>
                    <a:pt x="441750" y="257309"/>
                  </a:cubicBezTo>
                  <a:lnTo>
                    <a:pt x="427089" y="211979"/>
                  </a:lnTo>
                  <a:cubicBezTo>
                    <a:pt x="426929" y="209113"/>
                    <a:pt x="426702" y="206251"/>
                    <a:pt x="426407" y="203395"/>
                  </a:cubicBezTo>
                  <a:lnTo>
                    <a:pt x="177802" y="146050"/>
                  </a:lnTo>
                  <a:lnTo>
                    <a:pt x="171452" y="139700"/>
                  </a:lnTo>
                  <a:lnTo>
                    <a:pt x="163972" y="134308"/>
                  </a:lnTo>
                  <a:lnTo>
                    <a:pt x="158752" y="127000"/>
                  </a:lnTo>
                  <a:lnTo>
                    <a:pt x="134231" y="92671"/>
                  </a:lnTo>
                  <a:lnTo>
                    <a:pt x="443066" y="275618"/>
                  </a:lnTo>
                  <a:close/>
                </a:path>
              </a:pathLst>
            </a:custGeom>
            <a:solidFill>
              <a:srgbClr val="00CC00"/>
            </a:solidFill>
            <a:ln w="19050">
              <a:solidFill>
                <a:srgbClr val="009600"/>
              </a:solidFill>
              <a:miter lim="800000"/>
              <a:headEnd/>
              <a:tailEnd/>
            </a:ln>
          </p:spPr>
          <p:txBody>
            <a:bodyPr lIns="86026" tIns="43013" rIns="86026" bIns="43013" anchor="ctr"/>
            <a:lstStyle/>
            <a:p>
              <a:endParaRPr lang="de-DE"/>
            </a:p>
          </p:txBody>
        </p:sp>
        <p:sp>
          <p:nvSpPr>
            <p:cNvPr id="126" name="Freihandform 56"/>
            <p:cNvSpPr>
              <a:spLocks/>
            </p:cNvSpPr>
            <p:nvPr/>
          </p:nvSpPr>
          <p:spPr bwMode="auto">
            <a:xfrm>
              <a:off x="2487613" y="5307013"/>
              <a:ext cx="180975" cy="152400"/>
            </a:xfrm>
            <a:custGeom>
              <a:avLst/>
              <a:gdLst>
                <a:gd name="T0" fmla="*/ 0 w 260350"/>
                <a:gd name="T1" fmla="*/ 51 h 241300"/>
                <a:gd name="T2" fmla="*/ 34 w 260350"/>
                <a:gd name="T3" fmla="*/ 46 h 241300"/>
                <a:gd name="T4" fmla="*/ 47 w 260350"/>
                <a:gd name="T5" fmla="*/ 42 h 241300"/>
                <a:gd name="T6" fmla="*/ 67 w 260350"/>
                <a:gd name="T7" fmla="*/ 39 h 241300"/>
                <a:gd name="T8" fmla="*/ 95 w 260350"/>
                <a:gd name="T9" fmla="*/ 34 h 241300"/>
                <a:gd name="T10" fmla="*/ 114 w 260350"/>
                <a:gd name="T11" fmla="*/ 26 h 241300"/>
                <a:gd name="T12" fmla="*/ 142 w 260350"/>
                <a:gd name="T13" fmla="*/ 18 h 241300"/>
                <a:gd name="T14" fmla="*/ 175 w 260350"/>
                <a:gd name="T15" fmla="*/ 5 h 241300"/>
                <a:gd name="T16" fmla="*/ 215 w 260350"/>
                <a:gd name="T17" fmla="*/ 3 h 241300"/>
                <a:gd name="T18" fmla="*/ 236 w 260350"/>
                <a:gd name="T19" fmla="*/ 1 h 241300"/>
                <a:gd name="T20" fmla="*/ 275 w 260350"/>
                <a:gd name="T21" fmla="*/ 0 h 241300"/>
                <a:gd name="T22" fmla="*/ 275 w 260350"/>
                <a:gd name="T23" fmla="*/ 0 h 241300"/>
                <a:gd name="T24" fmla="*/ 268 w 260350"/>
                <a:gd name="T25" fmla="*/ 7 h 241300"/>
                <a:gd name="T26" fmla="*/ 262 w 260350"/>
                <a:gd name="T27" fmla="*/ 11 h 241300"/>
                <a:gd name="T28" fmla="*/ 255 w 260350"/>
                <a:gd name="T29" fmla="*/ 16 h 241300"/>
                <a:gd name="T30" fmla="*/ 248 w 260350"/>
                <a:gd name="T31" fmla="*/ 20 h 241300"/>
                <a:gd name="T32" fmla="*/ 242 w 260350"/>
                <a:gd name="T33" fmla="*/ 26 h 241300"/>
                <a:gd name="T34" fmla="*/ 209 w 260350"/>
                <a:gd name="T35" fmla="*/ 39 h 241300"/>
                <a:gd name="T36" fmla="*/ 142 w 260350"/>
                <a:gd name="T37" fmla="*/ 40 h 241300"/>
                <a:gd name="T38" fmla="*/ 95 w 260350"/>
                <a:gd name="T39" fmla="*/ 42 h 241300"/>
                <a:gd name="T40" fmla="*/ 34 w 260350"/>
                <a:gd name="T41" fmla="*/ 51 h 241300"/>
                <a:gd name="T42" fmla="*/ 13 w 260350"/>
                <a:gd name="T43" fmla="*/ 52 h 241300"/>
                <a:gd name="T44" fmla="*/ 0 w 260350"/>
                <a:gd name="T45" fmla="*/ 51 h 2413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0350"/>
                <a:gd name="T70" fmla="*/ 0 h 241300"/>
                <a:gd name="T71" fmla="*/ 260350 w 260350"/>
                <a:gd name="T72" fmla="*/ 241300 h 2413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0350" h="241300">
                  <a:moveTo>
                    <a:pt x="0" y="234950"/>
                  </a:moveTo>
                  <a:cubicBezTo>
                    <a:pt x="10583" y="228600"/>
                    <a:pt x="22379" y="223932"/>
                    <a:pt x="31750" y="215900"/>
                  </a:cubicBezTo>
                  <a:cubicBezTo>
                    <a:pt x="37544" y="210933"/>
                    <a:pt x="39564" y="202713"/>
                    <a:pt x="44450" y="196850"/>
                  </a:cubicBezTo>
                  <a:cubicBezTo>
                    <a:pt x="50199" y="189951"/>
                    <a:pt x="56682" y="183644"/>
                    <a:pt x="63500" y="177800"/>
                  </a:cubicBezTo>
                  <a:cubicBezTo>
                    <a:pt x="71535" y="170912"/>
                    <a:pt x="81416" y="166234"/>
                    <a:pt x="88900" y="158750"/>
                  </a:cubicBezTo>
                  <a:cubicBezTo>
                    <a:pt x="110043" y="137607"/>
                    <a:pt x="95038" y="143891"/>
                    <a:pt x="107950" y="120650"/>
                  </a:cubicBezTo>
                  <a:cubicBezTo>
                    <a:pt x="115363" y="107307"/>
                    <a:pt x="128523" y="97030"/>
                    <a:pt x="133350" y="82550"/>
                  </a:cubicBezTo>
                  <a:cubicBezTo>
                    <a:pt x="138941" y="65776"/>
                    <a:pt x="148724" y="30859"/>
                    <a:pt x="165100" y="25400"/>
                  </a:cubicBezTo>
                  <a:lnTo>
                    <a:pt x="203200" y="12700"/>
                  </a:lnTo>
                  <a:cubicBezTo>
                    <a:pt x="209550" y="10583"/>
                    <a:pt x="215648" y="7450"/>
                    <a:pt x="222250" y="6350"/>
                  </a:cubicBezTo>
                  <a:lnTo>
                    <a:pt x="260350" y="0"/>
                  </a:lnTo>
                  <a:cubicBezTo>
                    <a:pt x="257732" y="10471"/>
                    <a:pt x="256618" y="21279"/>
                    <a:pt x="254000" y="31750"/>
                  </a:cubicBezTo>
                  <a:cubicBezTo>
                    <a:pt x="252377" y="38244"/>
                    <a:pt x="249489" y="44364"/>
                    <a:pt x="247650" y="50800"/>
                  </a:cubicBezTo>
                  <a:cubicBezTo>
                    <a:pt x="245252" y="59191"/>
                    <a:pt x="243698" y="67809"/>
                    <a:pt x="241300" y="76200"/>
                  </a:cubicBezTo>
                  <a:cubicBezTo>
                    <a:pt x="239461" y="82636"/>
                    <a:pt x="236789" y="88814"/>
                    <a:pt x="234950" y="95250"/>
                  </a:cubicBezTo>
                  <a:cubicBezTo>
                    <a:pt x="232552" y="103641"/>
                    <a:pt x="230896" y="112230"/>
                    <a:pt x="228600" y="120650"/>
                  </a:cubicBezTo>
                  <a:cubicBezTo>
                    <a:pt x="222685" y="142337"/>
                    <a:pt x="224323" y="171460"/>
                    <a:pt x="196850" y="177800"/>
                  </a:cubicBezTo>
                  <a:cubicBezTo>
                    <a:pt x="176123" y="182583"/>
                    <a:pt x="154517" y="182033"/>
                    <a:pt x="133350" y="184150"/>
                  </a:cubicBezTo>
                  <a:cubicBezTo>
                    <a:pt x="127371" y="185645"/>
                    <a:pt x="96353" y="192709"/>
                    <a:pt x="88900" y="196850"/>
                  </a:cubicBezTo>
                  <a:lnTo>
                    <a:pt x="31750" y="234950"/>
                  </a:lnTo>
                  <a:cubicBezTo>
                    <a:pt x="26181" y="238663"/>
                    <a:pt x="19050" y="239183"/>
                    <a:pt x="12700" y="241300"/>
                  </a:cubicBezTo>
                  <a:lnTo>
                    <a:pt x="0" y="234950"/>
                  </a:lnTo>
                  <a:close/>
                </a:path>
              </a:pathLst>
            </a:custGeom>
            <a:solidFill>
              <a:srgbClr val="00CC00"/>
            </a:solidFill>
            <a:ln w="19050">
              <a:solidFill>
                <a:srgbClr val="008000"/>
              </a:solidFill>
              <a:miter lim="800000"/>
              <a:headEnd/>
              <a:tailEnd/>
            </a:ln>
          </p:spPr>
          <p:txBody>
            <a:bodyPr lIns="86026" tIns="43013" rIns="86026" bIns="43013" anchor="ctr"/>
            <a:lstStyle/>
            <a:p>
              <a:endParaRPr lang="de-DE"/>
            </a:p>
          </p:txBody>
        </p:sp>
        <p:sp>
          <p:nvSpPr>
            <p:cNvPr id="127" name="Freihandform 66"/>
            <p:cNvSpPr>
              <a:spLocks/>
            </p:cNvSpPr>
            <p:nvPr/>
          </p:nvSpPr>
          <p:spPr bwMode="auto">
            <a:xfrm rot="-1982605">
              <a:off x="2913063" y="5111750"/>
              <a:ext cx="288925" cy="287338"/>
            </a:xfrm>
            <a:custGeom>
              <a:avLst/>
              <a:gdLst>
                <a:gd name="T0" fmla="*/ 37377 w 217948"/>
                <a:gd name="T1" fmla="*/ 16554308 h 226375"/>
                <a:gd name="T2" fmla="*/ 4388334 w 217948"/>
                <a:gd name="T3" fmla="*/ 14961849 h 226375"/>
                <a:gd name="T4" fmla="*/ 6128628 w 217948"/>
                <a:gd name="T5" fmla="*/ 13767572 h 226375"/>
                <a:gd name="T6" fmla="*/ 11349695 w 217948"/>
                <a:gd name="T7" fmla="*/ 11777205 h 226375"/>
                <a:gd name="T8" fmla="*/ 13090043 w 217948"/>
                <a:gd name="T9" fmla="*/ 10582830 h 226375"/>
                <a:gd name="T10" fmla="*/ 15700391 w 217948"/>
                <a:gd name="T11" fmla="*/ 10184692 h 226375"/>
                <a:gd name="T12" fmla="*/ 20921571 w 217948"/>
                <a:gd name="T13" fmla="*/ 8990470 h 226375"/>
                <a:gd name="T14" fmla="*/ 23532020 w 217948"/>
                <a:gd name="T15" fmla="*/ 8194278 h 226375"/>
                <a:gd name="T16" fmla="*/ 25272433 w 217948"/>
                <a:gd name="T17" fmla="*/ 6999919 h 226375"/>
                <a:gd name="T18" fmla="*/ 30493538 w 217948"/>
                <a:gd name="T19" fmla="*/ 5407536 h 226375"/>
                <a:gd name="T20" fmla="*/ 34844390 w 217948"/>
                <a:gd name="T21" fmla="*/ 1824651 h 226375"/>
                <a:gd name="T22" fmla="*/ 33974119 w 217948"/>
                <a:gd name="T23" fmla="*/ 232300 h 226375"/>
                <a:gd name="T24" fmla="*/ 19181321 w 217948"/>
                <a:gd name="T25" fmla="*/ 1028454 h 226375"/>
                <a:gd name="T26" fmla="*/ 15700391 w 217948"/>
                <a:gd name="T27" fmla="*/ 3417086 h 226375"/>
                <a:gd name="T28" fmla="*/ 13960271 w 217948"/>
                <a:gd name="T29" fmla="*/ 4611386 h 226375"/>
                <a:gd name="T30" fmla="*/ 10479407 w 217948"/>
                <a:gd name="T31" fmla="*/ 10184692 h 226375"/>
                <a:gd name="T32" fmla="*/ 9609305 w 217948"/>
                <a:gd name="T33" fmla="*/ 11777205 h 226375"/>
                <a:gd name="T34" fmla="*/ 6998791 w 217948"/>
                <a:gd name="T35" fmla="*/ 15359924 h 226375"/>
                <a:gd name="T36" fmla="*/ 37377 w 217948"/>
                <a:gd name="T37" fmla="*/ 16554308 h 2263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7948"/>
                <a:gd name="T58" fmla="*/ 0 h 226375"/>
                <a:gd name="T59" fmla="*/ 217948 w 217948"/>
                <a:gd name="T60" fmla="*/ 226375 h 2263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7948" h="226375">
                  <a:moveTo>
                    <a:pt x="234" y="226333"/>
                  </a:moveTo>
                  <a:cubicBezTo>
                    <a:pt x="-2487" y="225426"/>
                    <a:pt x="19233" y="212776"/>
                    <a:pt x="27448" y="204561"/>
                  </a:cubicBezTo>
                  <a:cubicBezTo>
                    <a:pt x="32073" y="199936"/>
                    <a:pt x="33709" y="192858"/>
                    <a:pt x="38334" y="188233"/>
                  </a:cubicBezTo>
                  <a:cubicBezTo>
                    <a:pt x="81143" y="145424"/>
                    <a:pt x="26412" y="214512"/>
                    <a:pt x="70991" y="161019"/>
                  </a:cubicBezTo>
                  <a:cubicBezTo>
                    <a:pt x="75179" y="155994"/>
                    <a:pt x="76769" y="148777"/>
                    <a:pt x="81877" y="144690"/>
                  </a:cubicBezTo>
                  <a:cubicBezTo>
                    <a:pt x="86357" y="141106"/>
                    <a:pt x="93074" y="141813"/>
                    <a:pt x="98205" y="139247"/>
                  </a:cubicBezTo>
                  <a:cubicBezTo>
                    <a:pt x="140401" y="118148"/>
                    <a:pt x="89829" y="136595"/>
                    <a:pt x="130862" y="122919"/>
                  </a:cubicBezTo>
                  <a:cubicBezTo>
                    <a:pt x="136305" y="119290"/>
                    <a:pt x="142565" y="116659"/>
                    <a:pt x="147191" y="112033"/>
                  </a:cubicBezTo>
                  <a:cubicBezTo>
                    <a:pt x="151817" y="107407"/>
                    <a:pt x="153154" y="100012"/>
                    <a:pt x="158077" y="95704"/>
                  </a:cubicBezTo>
                  <a:cubicBezTo>
                    <a:pt x="167923" y="87089"/>
                    <a:pt x="190734" y="73933"/>
                    <a:pt x="190734" y="73933"/>
                  </a:cubicBezTo>
                  <a:cubicBezTo>
                    <a:pt x="215688" y="36502"/>
                    <a:pt x="208368" y="53688"/>
                    <a:pt x="217948" y="24947"/>
                  </a:cubicBezTo>
                  <a:cubicBezTo>
                    <a:pt x="216134" y="17690"/>
                    <a:pt x="219840" y="4643"/>
                    <a:pt x="212505" y="3176"/>
                  </a:cubicBezTo>
                  <a:cubicBezTo>
                    <a:pt x="172278" y="-4869"/>
                    <a:pt x="151070" y="3698"/>
                    <a:pt x="119977" y="14061"/>
                  </a:cubicBezTo>
                  <a:lnTo>
                    <a:pt x="98205" y="46719"/>
                  </a:lnTo>
                  <a:lnTo>
                    <a:pt x="87320" y="63047"/>
                  </a:lnTo>
                  <a:cubicBezTo>
                    <a:pt x="73651" y="117722"/>
                    <a:pt x="81165" y="92397"/>
                    <a:pt x="65548" y="139247"/>
                  </a:cubicBezTo>
                  <a:cubicBezTo>
                    <a:pt x="63182" y="146344"/>
                    <a:pt x="62254" y="153854"/>
                    <a:pt x="60105" y="161019"/>
                  </a:cubicBezTo>
                  <a:cubicBezTo>
                    <a:pt x="60091" y="161066"/>
                    <a:pt x="46506" y="201817"/>
                    <a:pt x="43777" y="210004"/>
                  </a:cubicBezTo>
                  <a:cubicBezTo>
                    <a:pt x="42629" y="213446"/>
                    <a:pt x="2955" y="227240"/>
                    <a:pt x="234" y="226333"/>
                  </a:cubicBezTo>
                  <a:close/>
                </a:path>
              </a:pathLst>
            </a:custGeom>
            <a:solidFill>
              <a:srgbClr val="00CC00"/>
            </a:solidFill>
            <a:ln w="19050">
              <a:solidFill>
                <a:srgbClr val="008000"/>
              </a:solidFill>
              <a:round/>
              <a:headEnd/>
              <a:tailEnd/>
            </a:ln>
          </p:spPr>
          <p:txBody>
            <a:bodyPr anchor="ctr"/>
            <a:lstStyle/>
            <a:p>
              <a:endParaRPr lang="de-DE"/>
            </a:p>
          </p:txBody>
        </p:sp>
        <p:sp>
          <p:nvSpPr>
            <p:cNvPr id="128" name="Freihandform 67"/>
            <p:cNvSpPr>
              <a:spLocks/>
            </p:cNvSpPr>
            <p:nvPr/>
          </p:nvSpPr>
          <p:spPr bwMode="auto">
            <a:xfrm>
              <a:off x="3008313" y="5156200"/>
              <a:ext cx="71437" cy="360363"/>
            </a:xfrm>
            <a:custGeom>
              <a:avLst/>
              <a:gdLst>
                <a:gd name="T0" fmla="*/ 12098 w 71164"/>
                <a:gd name="T1" fmla="*/ 8435344 h 299357"/>
                <a:gd name="T2" fmla="*/ 29592 w 71164"/>
                <a:gd name="T3" fmla="*/ 6441530 h 299357"/>
                <a:gd name="T4" fmla="*/ 17929 w 71164"/>
                <a:gd name="T5" fmla="*/ 5061240 h 299357"/>
                <a:gd name="T6" fmla="*/ 6268 w 71164"/>
                <a:gd name="T7" fmla="*/ 4140966 h 299357"/>
                <a:gd name="T8" fmla="*/ 443 w 71164"/>
                <a:gd name="T9" fmla="*/ 3680906 h 299357"/>
                <a:gd name="T10" fmla="*/ 12098 w 71164"/>
                <a:gd name="T11" fmla="*/ 460123 h 299357"/>
                <a:gd name="T12" fmla="*/ 23759 w 71164"/>
                <a:gd name="T13" fmla="*/ 0 h 299357"/>
                <a:gd name="T14" fmla="*/ 35422 w 71164"/>
                <a:gd name="T15" fmla="*/ 920189 h 299357"/>
                <a:gd name="T16" fmla="*/ 58749 w 71164"/>
                <a:gd name="T17" fmla="*/ 1840460 h 299357"/>
                <a:gd name="T18" fmla="*/ 70410 w 71164"/>
                <a:gd name="T19" fmla="*/ 2300565 h 299357"/>
                <a:gd name="T20" fmla="*/ 76240 w 71164"/>
                <a:gd name="T21" fmla="*/ 2760699 h 299357"/>
                <a:gd name="T22" fmla="*/ 64579 w 71164"/>
                <a:gd name="T23" fmla="*/ 4294373 h 299357"/>
                <a:gd name="T24" fmla="*/ 52916 w 71164"/>
                <a:gd name="T25" fmla="*/ 4754493 h 299357"/>
                <a:gd name="T26" fmla="*/ 41254 w 71164"/>
                <a:gd name="T27" fmla="*/ 6441530 h 299357"/>
                <a:gd name="T28" fmla="*/ 12098 w 71164"/>
                <a:gd name="T29" fmla="*/ 8435344 h 299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1164"/>
                <a:gd name="T46" fmla="*/ 0 h 299357"/>
                <a:gd name="T47" fmla="*/ 71164 w 71164"/>
                <a:gd name="T48" fmla="*/ 299357 h 299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1164" h="299357">
                  <a:moveTo>
                    <a:pt x="11293" y="299357"/>
                  </a:moveTo>
                  <a:cubicBezTo>
                    <a:pt x="9479" y="299357"/>
                    <a:pt x="16327" y="262481"/>
                    <a:pt x="27621" y="228600"/>
                  </a:cubicBezTo>
                  <a:cubicBezTo>
                    <a:pt x="24516" y="213075"/>
                    <a:pt x="21345" y="194978"/>
                    <a:pt x="16736" y="179615"/>
                  </a:cubicBezTo>
                  <a:cubicBezTo>
                    <a:pt x="13439" y="168624"/>
                    <a:pt x="9479" y="157843"/>
                    <a:pt x="5850" y="146957"/>
                  </a:cubicBezTo>
                  <a:lnTo>
                    <a:pt x="407" y="130629"/>
                  </a:lnTo>
                  <a:cubicBezTo>
                    <a:pt x="544" y="128156"/>
                    <a:pt x="-3507" y="45930"/>
                    <a:pt x="11293" y="16329"/>
                  </a:cubicBezTo>
                  <a:cubicBezTo>
                    <a:pt x="14218" y="10478"/>
                    <a:pt x="18550" y="5443"/>
                    <a:pt x="22178" y="0"/>
                  </a:cubicBezTo>
                  <a:cubicBezTo>
                    <a:pt x="25807" y="10886"/>
                    <a:pt x="26699" y="23110"/>
                    <a:pt x="33064" y="32657"/>
                  </a:cubicBezTo>
                  <a:lnTo>
                    <a:pt x="54836" y="65315"/>
                  </a:lnTo>
                  <a:cubicBezTo>
                    <a:pt x="58464" y="70758"/>
                    <a:pt x="63652" y="75437"/>
                    <a:pt x="65721" y="81643"/>
                  </a:cubicBezTo>
                  <a:lnTo>
                    <a:pt x="71164" y="97972"/>
                  </a:lnTo>
                  <a:cubicBezTo>
                    <a:pt x="69157" y="112017"/>
                    <a:pt x="67878" y="137199"/>
                    <a:pt x="60278" y="152400"/>
                  </a:cubicBezTo>
                  <a:cubicBezTo>
                    <a:pt x="57353" y="158251"/>
                    <a:pt x="53021" y="163286"/>
                    <a:pt x="49393" y="168729"/>
                  </a:cubicBezTo>
                  <a:cubicBezTo>
                    <a:pt x="37048" y="218106"/>
                    <a:pt x="51508" y="157096"/>
                    <a:pt x="38507" y="228600"/>
                  </a:cubicBezTo>
                  <a:cubicBezTo>
                    <a:pt x="32624" y="260956"/>
                    <a:pt x="13107" y="299357"/>
                    <a:pt x="11293" y="299357"/>
                  </a:cubicBezTo>
                  <a:close/>
                </a:path>
              </a:pathLst>
            </a:custGeom>
            <a:solidFill>
              <a:srgbClr val="00CC00"/>
            </a:solidFill>
            <a:ln w="19050">
              <a:solidFill>
                <a:srgbClr val="008000"/>
              </a:solidFill>
              <a:round/>
              <a:headEnd/>
              <a:tailEnd/>
            </a:ln>
          </p:spPr>
          <p:txBody>
            <a:bodyPr anchor="ctr"/>
            <a:lstStyle/>
            <a:p>
              <a:endParaRPr lang="de-DE"/>
            </a:p>
          </p:txBody>
        </p:sp>
        <p:sp>
          <p:nvSpPr>
            <p:cNvPr id="129" name="Freihandform 68"/>
            <p:cNvSpPr>
              <a:spLocks/>
            </p:cNvSpPr>
            <p:nvPr/>
          </p:nvSpPr>
          <p:spPr bwMode="auto">
            <a:xfrm>
              <a:off x="2935288" y="5229225"/>
              <a:ext cx="73025" cy="288925"/>
            </a:xfrm>
            <a:custGeom>
              <a:avLst/>
              <a:gdLst>
                <a:gd name="T0" fmla="*/ 0 w 168867"/>
                <a:gd name="T1" fmla="*/ 6900092 h 239725"/>
                <a:gd name="T2" fmla="*/ 0 w 168867"/>
                <a:gd name="T3" fmla="*/ 6586644 h 239725"/>
                <a:gd name="T4" fmla="*/ 0 w 168867"/>
                <a:gd name="T5" fmla="*/ 5959777 h 239725"/>
                <a:gd name="T6" fmla="*/ 0 w 168867"/>
                <a:gd name="T7" fmla="*/ 5489603 h 239725"/>
                <a:gd name="T8" fmla="*/ 0 w 168867"/>
                <a:gd name="T9" fmla="*/ 4862731 h 239725"/>
                <a:gd name="T10" fmla="*/ 0 w 168867"/>
                <a:gd name="T11" fmla="*/ 2982075 h 239725"/>
                <a:gd name="T12" fmla="*/ 0 w 168867"/>
                <a:gd name="T13" fmla="*/ 2198529 h 239725"/>
                <a:gd name="T14" fmla="*/ 0 w 168867"/>
                <a:gd name="T15" fmla="*/ 1258200 h 239725"/>
                <a:gd name="T16" fmla="*/ 0 w 168867"/>
                <a:gd name="T17" fmla="*/ 788043 h 239725"/>
                <a:gd name="T18" fmla="*/ 0 w 168867"/>
                <a:gd name="T19" fmla="*/ 317913 h 239725"/>
                <a:gd name="T20" fmla="*/ 0 w 168867"/>
                <a:gd name="T21" fmla="*/ 4451 h 239725"/>
                <a:gd name="T22" fmla="*/ 0 w 168867"/>
                <a:gd name="T23" fmla="*/ 161195 h 239725"/>
                <a:gd name="T24" fmla="*/ 0 w 168867"/>
                <a:gd name="T25" fmla="*/ 1571668 h 239725"/>
                <a:gd name="T26" fmla="*/ 0 w 168867"/>
                <a:gd name="T27" fmla="*/ 2041815 h 239725"/>
                <a:gd name="T28" fmla="*/ 0 w 168867"/>
                <a:gd name="T29" fmla="*/ 2355246 h 239725"/>
                <a:gd name="T30" fmla="*/ 0 w 168867"/>
                <a:gd name="T31" fmla="*/ 3765714 h 239725"/>
                <a:gd name="T32" fmla="*/ 0 w 168867"/>
                <a:gd name="T33" fmla="*/ 5646297 h 239725"/>
                <a:gd name="T34" fmla="*/ 0 w 168867"/>
                <a:gd name="T35" fmla="*/ 6116476 h 239725"/>
                <a:gd name="T36" fmla="*/ 0 w 168867"/>
                <a:gd name="T37" fmla="*/ 6429889 h 239725"/>
                <a:gd name="T38" fmla="*/ 0 w 168867"/>
                <a:gd name="T39" fmla="*/ 6900092 h 239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8867"/>
                <a:gd name="T61" fmla="*/ 0 h 239725"/>
                <a:gd name="T62" fmla="*/ 168867 w 168867"/>
                <a:gd name="T63" fmla="*/ 239725 h 239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8867" h="239725">
                  <a:moveTo>
                    <a:pt x="130629" y="239641"/>
                  </a:moveTo>
                  <a:cubicBezTo>
                    <a:pt x="117022" y="240548"/>
                    <a:pt x="96500" y="233985"/>
                    <a:pt x="87086" y="228755"/>
                  </a:cubicBezTo>
                  <a:cubicBezTo>
                    <a:pt x="75649" y="222401"/>
                    <a:pt x="54429" y="206984"/>
                    <a:pt x="54429" y="206984"/>
                  </a:cubicBezTo>
                  <a:cubicBezTo>
                    <a:pt x="50800" y="201541"/>
                    <a:pt x="46120" y="196668"/>
                    <a:pt x="43543" y="190655"/>
                  </a:cubicBezTo>
                  <a:cubicBezTo>
                    <a:pt x="40596" y="183779"/>
                    <a:pt x="39478" y="176236"/>
                    <a:pt x="38100" y="168884"/>
                  </a:cubicBezTo>
                  <a:cubicBezTo>
                    <a:pt x="34033" y="147190"/>
                    <a:pt x="30843" y="125341"/>
                    <a:pt x="27215" y="103569"/>
                  </a:cubicBezTo>
                  <a:cubicBezTo>
                    <a:pt x="25694" y="94444"/>
                    <a:pt x="24206" y="85280"/>
                    <a:pt x="21772" y="76355"/>
                  </a:cubicBezTo>
                  <a:cubicBezTo>
                    <a:pt x="18753" y="65285"/>
                    <a:pt x="14515" y="54584"/>
                    <a:pt x="10886" y="43698"/>
                  </a:cubicBezTo>
                  <a:lnTo>
                    <a:pt x="5443" y="27369"/>
                  </a:lnTo>
                  <a:lnTo>
                    <a:pt x="0" y="11041"/>
                  </a:lnTo>
                  <a:cubicBezTo>
                    <a:pt x="5443" y="7412"/>
                    <a:pt x="9876" y="1230"/>
                    <a:pt x="16329" y="155"/>
                  </a:cubicBezTo>
                  <a:cubicBezTo>
                    <a:pt x="21988" y="-788"/>
                    <a:pt x="27677" y="2751"/>
                    <a:pt x="32658" y="5598"/>
                  </a:cubicBezTo>
                  <a:cubicBezTo>
                    <a:pt x="58695" y="20477"/>
                    <a:pt x="58339" y="27792"/>
                    <a:pt x="76200" y="54584"/>
                  </a:cubicBezTo>
                  <a:cubicBezTo>
                    <a:pt x="79382" y="59358"/>
                    <a:pt x="78059" y="66432"/>
                    <a:pt x="81643" y="70912"/>
                  </a:cubicBezTo>
                  <a:cubicBezTo>
                    <a:pt x="85730" y="76020"/>
                    <a:pt x="92529" y="78169"/>
                    <a:pt x="97972" y="81798"/>
                  </a:cubicBezTo>
                  <a:cubicBezTo>
                    <a:pt x="107552" y="110539"/>
                    <a:pt x="100232" y="93353"/>
                    <a:pt x="125186" y="130784"/>
                  </a:cubicBezTo>
                  <a:cubicBezTo>
                    <a:pt x="140427" y="153646"/>
                    <a:pt x="133353" y="171612"/>
                    <a:pt x="141515" y="196098"/>
                  </a:cubicBezTo>
                  <a:cubicBezTo>
                    <a:pt x="143584" y="202304"/>
                    <a:pt x="147774" y="207801"/>
                    <a:pt x="152400" y="212427"/>
                  </a:cubicBezTo>
                  <a:cubicBezTo>
                    <a:pt x="157026" y="217053"/>
                    <a:pt x="162878" y="220387"/>
                    <a:pt x="168729" y="223312"/>
                  </a:cubicBezTo>
                  <a:cubicBezTo>
                    <a:pt x="171024" y="224459"/>
                    <a:pt x="144236" y="238734"/>
                    <a:pt x="130629" y="239641"/>
                  </a:cubicBezTo>
                  <a:close/>
                </a:path>
              </a:pathLst>
            </a:custGeom>
            <a:solidFill>
              <a:srgbClr val="00CC00"/>
            </a:solidFill>
            <a:ln w="19050">
              <a:solidFill>
                <a:srgbClr val="008000"/>
              </a:solidFill>
              <a:round/>
              <a:headEnd/>
              <a:tailEnd/>
            </a:ln>
          </p:spPr>
          <p:txBody>
            <a:bodyPr anchor="ctr"/>
            <a:lstStyle/>
            <a:p>
              <a:endParaRPr lang="de-DE"/>
            </a:p>
          </p:txBody>
        </p:sp>
        <p:sp>
          <p:nvSpPr>
            <p:cNvPr id="130" name="Freihandform 74"/>
            <p:cNvSpPr>
              <a:spLocks/>
            </p:cNvSpPr>
            <p:nvPr/>
          </p:nvSpPr>
          <p:spPr bwMode="auto">
            <a:xfrm>
              <a:off x="2935288" y="5516563"/>
              <a:ext cx="107950" cy="138112"/>
            </a:xfrm>
            <a:custGeom>
              <a:avLst/>
              <a:gdLst>
                <a:gd name="T0" fmla="*/ 33012 w 115742"/>
                <a:gd name="T1" fmla="*/ 0 h 185057"/>
                <a:gd name="T2" fmla="*/ 31456 w 115742"/>
                <a:gd name="T3" fmla="*/ 140 h 185057"/>
                <a:gd name="T4" fmla="*/ 28354 w 115742"/>
                <a:gd name="T5" fmla="*/ 225 h 185057"/>
                <a:gd name="T6" fmla="*/ 26802 w 115742"/>
                <a:gd name="T7" fmla="*/ 309 h 185057"/>
                <a:gd name="T8" fmla="*/ 23697 w 115742"/>
                <a:gd name="T9" fmla="*/ 393 h 185057"/>
                <a:gd name="T10" fmla="*/ 22145 w 115742"/>
                <a:gd name="T11" fmla="*/ 478 h 185057"/>
                <a:gd name="T12" fmla="*/ 17488 w 115742"/>
                <a:gd name="T13" fmla="*/ 534 h 185057"/>
                <a:gd name="T14" fmla="*/ 8173 w 115742"/>
                <a:gd name="T15" fmla="*/ 702 h 185057"/>
                <a:gd name="T16" fmla="*/ 5068 w 115742"/>
                <a:gd name="T17" fmla="*/ 787 h 185057"/>
                <a:gd name="T18" fmla="*/ 410 w 115742"/>
                <a:gd name="T19" fmla="*/ 843 h 185057"/>
                <a:gd name="T20" fmla="*/ 410 w 115742"/>
                <a:gd name="T21" fmla="*/ 955 h 1850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742"/>
                <a:gd name="T34" fmla="*/ 0 h 185057"/>
                <a:gd name="T35" fmla="*/ 115742 w 115742"/>
                <a:gd name="T36" fmla="*/ 185057 h 1850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742" h="185057">
                  <a:moveTo>
                    <a:pt x="115742" y="0"/>
                  </a:moveTo>
                  <a:cubicBezTo>
                    <a:pt x="113928" y="9071"/>
                    <a:pt x="113547" y="18552"/>
                    <a:pt x="110299" y="27214"/>
                  </a:cubicBezTo>
                  <a:cubicBezTo>
                    <a:pt x="108002" y="33339"/>
                    <a:pt x="102339" y="37692"/>
                    <a:pt x="99414" y="43543"/>
                  </a:cubicBezTo>
                  <a:cubicBezTo>
                    <a:pt x="96848" y="48674"/>
                    <a:pt x="96537" y="54740"/>
                    <a:pt x="93971" y="59871"/>
                  </a:cubicBezTo>
                  <a:cubicBezTo>
                    <a:pt x="91045" y="65722"/>
                    <a:pt x="86011" y="70349"/>
                    <a:pt x="83085" y="76200"/>
                  </a:cubicBezTo>
                  <a:cubicBezTo>
                    <a:pt x="80519" y="81331"/>
                    <a:pt x="81226" y="88048"/>
                    <a:pt x="77642" y="92528"/>
                  </a:cubicBezTo>
                  <a:cubicBezTo>
                    <a:pt x="73556" y="97636"/>
                    <a:pt x="66757" y="99785"/>
                    <a:pt x="61314" y="103414"/>
                  </a:cubicBezTo>
                  <a:cubicBezTo>
                    <a:pt x="35657" y="141899"/>
                    <a:pt x="69167" y="95560"/>
                    <a:pt x="28656" y="136071"/>
                  </a:cubicBezTo>
                  <a:cubicBezTo>
                    <a:pt x="24030" y="140697"/>
                    <a:pt x="22397" y="147774"/>
                    <a:pt x="17771" y="152400"/>
                  </a:cubicBezTo>
                  <a:cubicBezTo>
                    <a:pt x="13145" y="157026"/>
                    <a:pt x="4368" y="157434"/>
                    <a:pt x="1442" y="163285"/>
                  </a:cubicBezTo>
                  <a:cubicBezTo>
                    <a:pt x="-1804" y="169776"/>
                    <a:pt x="1442" y="177800"/>
                    <a:pt x="1442" y="185057"/>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1" name="Freihandform 76"/>
            <p:cNvSpPr>
              <a:spLocks/>
            </p:cNvSpPr>
            <p:nvPr/>
          </p:nvSpPr>
          <p:spPr bwMode="auto">
            <a:xfrm>
              <a:off x="1181100" y="5461000"/>
              <a:ext cx="71438" cy="211138"/>
            </a:xfrm>
            <a:custGeom>
              <a:avLst/>
              <a:gdLst>
                <a:gd name="T0" fmla="*/ 0 w 76200"/>
                <a:gd name="T1" fmla="*/ 0 h 283029"/>
                <a:gd name="T2" fmla="*/ 8518 w 76200"/>
                <a:gd name="T3" fmla="*/ 112 h 283029"/>
                <a:gd name="T4" fmla="*/ 11924 w 76200"/>
                <a:gd name="T5" fmla="*/ 279 h 283029"/>
                <a:gd name="T6" fmla="*/ 13629 w 76200"/>
                <a:gd name="T7" fmla="*/ 363 h 283029"/>
                <a:gd name="T8" fmla="*/ 8518 w 76200"/>
                <a:gd name="T9" fmla="*/ 836 h 283029"/>
                <a:gd name="T10" fmla="*/ 5111 w 76200"/>
                <a:gd name="T11" fmla="*/ 920 h 283029"/>
                <a:gd name="T12" fmla="*/ 8518 w 76200"/>
                <a:gd name="T13" fmla="*/ 1170 h 283029"/>
                <a:gd name="T14" fmla="*/ 13629 w 76200"/>
                <a:gd name="T15" fmla="*/ 1338 h 283029"/>
                <a:gd name="T16" fmla="*/ 23850 w 76200"/>
                <a:gd name="T17" fmla="*/ 1449 h 2830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83029"/>
                <a:gd name="T29" fmla="*/ 76200 w 76200"/>
                <a:gd name="T30" fmla="*/ 283029 h 2830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83029">
                  <a:moveTo>
                    <a:pt x="0" y="0"/>
                  </a:moveTo>
                  <a:cubicBezTo>
                    <a:pt x="9072" y="7257"/>
                    <a:pt x="20553" y="12254"/>
                    <a:pt x="27215" y="21771"/>
                  </a:cubicBezTo>
                  <a:cubicBezTo>
                    <a:pt x="33795" y="31172"/>
                    <a:pt x="34472" y="43543"/>
                    <a:pt x="38100" y="54429"/>
                  </a:cubicBezTo>
                  <a:lnTo>
                    <a:pt x="43543" y="70757"/>
                  </a:lnTo>
                  <a:cubicBezTo>
                    <a:pt x="37061" y="142056"/>
                    <a:pt x="44437" y="111618"/>
                    <a:pt x="27215" y="163286"/>
                  </a:cubicBezTo>
                  <a:cubicBezTo>
                    <a:pt x="25147" y="169492"/>
                    <a:pt x="19958" y="174171"/>
                    <a:pt x="16329" y="179614"/>
                  </a:cubicBezTo>
                  <a:cubicBezTo>
                    <a:pt x="20072" y="198330"/>
                    <a:pt x="22089" y="210657"/>
                    <a:pt x="27215" y="228600"/>
                  </a:cubicBezTo>
                  <a:cubicBezTo>
                    <a:pt x="30359" y="239603"/>
                    <a:pt x="34453" y="253303"/>
                    <a:pt x="43543" y="261257"/>
                  </a:cubicBezTo>
                  <a:cubicBezTo>
                    <a:pt x="53389" y="269872"/>
                    <a:pt x="76200" y="283029"/>
                    <a:pt x="76200" y="283029"/>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2" name="Freihandform 77"/>
            <p:cNvSpPr>
              <a:spLocks/>
            </p:cNvSpPr>
            <p:nvPr/>
          </p:nvSpPr>
          <p:spPr bwMode="auto">
            <a:xfrm>
              <a:off x="1138238" y="5456238"/>
              <a:ext cx="42862" cy="215900"/>
            </a:xfrm>
            <a:custGeom>
              <a:avLst/>
              <a:gdLst>
                <a:gd name="T0" fmla="*/ 620 w 54429"/>
                <a:gd name="T1" fmla="*/ 0 h 288472"/>
                <a:gd name="T2" fmla="*/ 496 w 54429"/>
                <a:gd name="T3" fmla="*/ 650 h 288472"/>
                <a:gd name="T4" fmla="*/ 372 w 54429"/>
                <a:gd name="T5" fmla="*/ 916 h 288472"/>
                <a:gd name="T6" fmla="*/ 248 w 54429"/>
                <a:gd name="T7" fmla="*/ 1004 h 288472"/>
                <a:gd name="T8" fmla="*/ 186 w 54429"/>
                <a:gd name="T9" fmla="*/ 1093 h 288472"/>
                <a:gd name="T10" fmla="*/ 0 w 54429"/>
                <a:gd name="T11" fmla="*/ 1270 h 288472"/>
                <a:gd name="T12" fmla="*/ 248 w 54429"/>
                <a:gd name="T13" fmla="*/ 1448 h 288472"/>
                <a:gd name="T14" fmla="*/ 186 w 54429"/>
                <a:gd name="T15" fmla="*/ 1537 h 288472"/>
                <a:gd name="T16" fmla="*/ 124 w 54429"/>
                <a:gd name="T17" fmla="*/ 1566 h 2884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429"/>
                <a:gd name="T28" fmla="*/ 0 h 288472"/>
                <a:gd name="T29" fmla="*/ 54429 w 54429"/>
                <a:gd name="T30" fmla="*/ 288472 h 2884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429" h="288472">
                  <a:moveTo>
                    <a:pt x="54429" y="0"/>
                  </a:moveTo>
                  <a:cubicBezTo>
                    <a:pt x="51592" y="36882"/>
                    <a:pt x="48914" y="82150"/>
                    <a:pt x="43543" y="119743"/>
                  </a:cubicBezTo>
                  <a:cubicBezTo>
                    <a:pt x="42989" y="123619"/>
                    <a:pt x="35204" y="162785"/>
                    <a:pt x="32657" y="168729"/>
                  </a:cubicBezTo>
                  <a:cubicBezTo>
                    <a:pt x="30080" y="174742"/>
                    <a:pt x="25400" y="179615"/>
                    <a:pt x="21771" y="185058"/>
                  </a:cubicBezTo>
                  <a:cubicBezTo>
                    <a:pt x="19957" y="190501"/>
                    <a:pt x="18895" y="196255"/>
                    <a:pt x="16329" y="201386"/>
                  </a:cubicBezTo>
                  <a:cubicBezTo>
                    <a:pt x="-4776" y="243598"/>
                    <a:pt x="13683" y="192996"/>
                    <a:pt x="0" y="234043"/>
                  </a:cubicBezTo>
                  <a:cubicBezTo>
                    <a:pt x="9818" y="243861"/>
                    <a:pt x="21771" y="250945"/>
                    <a:pt x="21771" y="266700"/>
                  </a:cubicBezTo>
                  <a:cubicBezTo>
                    <a:pt x="21771" y="272437"/>
                    <a:pt x="18895" y="277897"/>
                    <a:pt x="16329" y="283029"/>
                  </a:cubicBezTo>
                  <a:cubicBezTo>
                    <a:pt x="15182" y="285324"/>
                    <a:pt x="12700" y="286658"/>
                    <a:pt x="10886" y="288472"/>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3" name="Freihandform 78"/>
            <p:cNvSpPr>
              <a:spLocks/>
            </p:cNvSpPr>
            <p:nvPr/>
          </p:nvSpPr>
          <p:spPr bwMode="auto">
            <a:xfrm>
              <a:off x="1079500" y="5461000"/>
              <a:ext cx="90488" cy="187325"/>
            </a:xfrm>
            <a:custGeom>
              <a:avLst/>
              <a:gdLst>
                <a:gd name="T0" fmla="*/ 23438 w 97972"/>
                <a:gd name="T1" fmla="*/ 0 h 250371"/>
                <a:gd name="T2" fmla="*/ 18229 w 97972"/>
                <a:gd name="T3" fmla="*/ 147 h 250371"/>
                <a:gd name="T4" fmla="*/ 14322 w 97972"/>
                <a:gd name="T5" fmla="*/ 206 h 250371"/>
                <a:gd name="T6" fmla="*/ 11720 w 97972"/>
                <a:gd name="T7" fmla="*/ 382 h 250371"/>
                <a:gd name="T8" fmla="*/ 7813 w 97972"/>
                <a:gd name="T9" fmla="*/ 676 h 250371"/>
                <a:gd name="T10" fmla="*/ 6511 w 97972"/>
                <a:gd name="T11" fmla="*/ 852 h 250371"/>
                <a:gd name="T12" fmla="*/ 5209 w 97972"/>
                <a:gd name="T13" fmla="*/ 940 h 250371"/>
                <a:gd name="T14" fmla="*/ 3906 w 97972"/>
                <a:gd name="T15" fmla="*/ 1058 h 250371"/>
                <a:gd name="T16" fmla="*/ 2605 w 97972"/>
                <a:gd name="T17" fmla="*/ 1145 h 250371"/>
                <a:gd name="T18" fmla="*/ 1302 w 97972"/>
                <a:gd name="T19" fmla="*/ 1264 h 250371"/>
                <a:gd name="T20" fmla="*/ 0 w 97972"/>
                <a:gd name="T21" fmla="*/ 1351 h 2503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7972"/>
                <a:gd name="T34" fmla="*/ 0 h 250371"/>
                <a:gd name="T35" fmla="*/ 97972 w 97972"/>
                <a:gd name="T36" fmla="*/ 250371 h 2503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7972" h="250371">
                  <a:moveTo>
                    <a:pt x="97972" y="0"/>
                  </a:moveTo>
                  <a:cubicBezTo>
                    <a:pt x="90715" y="9071"/>
                    <a:pt x="84415" y="18999"/>
                    <a:pt x="76200" y="27214"/>
                  </a:cubicBezTo>
                  <a:cubicBezTo>
                    <a:pt x="71575" y="31839"/>
                    <a:pt x="63339" y="32553"/>
                    <a:pt x="59872" y="38100"/>
                  </a:cubicBezTo>
                  <a:cubicBezTo>
                    <a:pt x="53791" y="47830"/>
                    <a:pt x="52615" y="59871"/>
                    <a:pt x="48986" y="70757"/>
                  </a:cubicBezTo>
                  <a:cubicBezTo>
                    <a:pt x="42971" y="88802"/>
                    <a:pt x="36399" y="106477"/>
                    <a:pt x="32657" y="125186"/>
                  </a:cubicBezTo>
                  <a:cubicBezTo>
                    <a:pt x="30493" y="136008"/>
                    <a:pt x="29608" y="147070"/>
                    <a:pt x="27214" y="157843"/>
                  </a:cubicBezTo>
                  <a:cubicBezTo>
                    <a:pt x="25970" y="163443"/>
                    <a:pt x="23348" y="168655"/>
                    <a:pt x="21772" y="174171"/>
                  </a:cubicBezTo>
                  <a:cubicBezTo>
                    <a:pt x="19717" y="181364"/>
                    <a:pt x="18384" y="188750"/>
                    <a:pt x="16329" y="195943"/>
                  </a:cubicBezTo>
                  <a:cubicBezTo>
                    <a:pt x="14753" y="201459"/>
                    <a:pt x="12462" y="206755"/>
                    <a:pt x="10886" y="212271"/>
                  </a:cubicBezTo>
                  <a:cubicBezTo>
                    <a:pt x="8831" y="219464"/>
                    <a:pt x="7498" y="226850"/>
                    <a:pt x="5443" y="234043"/>
                  </a:cubicBezTo>
                  <a:cubicBezTo>
                    <a:pt x="3867" y="239559"/>
                    <a:pt x="0" y="250371"/>
                    <a:pt x="0" y="250371"/>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4" name="Freihandform 79"/>
            <p:cNvSpPr>
              <a:spLocks/>
            </p:cNvSpPr>
            <p:nvPr/>
          </p:nvSpPr>
          <p:spPr bwMode="auto">
            <a:xfrm>
              <a:off x="1593850" y="5492750"/>
              <a:ext cx="131763" cy="127000"/>
            </a:xfrm>
            <a:custGeom>
              <a:avLst/>
              <a:gdLst>
                <a:gd name="T0" fmla="*/ 0 w 141514"/>
                <a:gd name="T1" fmla="*/ 0 h 168729"/>
                <a:gd name="T2" fmla="*/ 1506 w 141514"/>
                <a:gd name="T3" fmla="*/ 164 h 168729"/>
                <a:gd name="T4" fmla="*/ 7529 w 141514"/>
                <a:gd name="T5" fmla="*/ 361 h 168729"/>
                <a:gd name="T6" fmla="*/ 13550 w 141514"/>
                <a:gd name="T7" fmla="*/ 556 h 168729"/>
                <a:gd name="T8" fmla="*/ 22584 w 141514"/>
                <a:gd name="T9" fmla="*/ 753 h 168729"/>
                <a:gd name="T10" fmla="*/ 27101 w 141514"/>
                <a:gd name="T11" fmla="*/ 785 h 168729"/>
                <a:gd name="T12" fmla="*/ 31619 w 141514"/>
                <a:gd name="T13" fmla="*/ 851 h 168729"/>
                <a:gd name="T14" fmla="*/ 33123 w 141514"/>
                <a:gd name="T15" fmla="*/ 949 h 168729"/>
                <a:gd name="T16" fmla="*/ 37641 w 141514"/>
                <a:gd name="T17" fmla="*/ 982 h 168729"/>
                <a:gd name="T18" fmla="*/ 39146 w 141514"/>
                <a:gd name="T19" fmla="*/ 1015 h 1687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1514"/>
                <a:gd name="T31" fmla="*/ 0 h 168729"/>
                <a:gd name="T32" fmla="*/ 141514 w 141514"/>
                <a:gd name="T33" fmla="*/ 168729 h 1687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1514" h="168729">
                  <a:moveTo>
                    <a:pt x="0" y="0"/>
                  </a:moveTo>
                  <a:cubicBezTo>
                    <a:pt x="1814" y="9071"/>
                    <a:pt x="1615" y="18792"/>
                    <a:pt x="5443" y="27214"/>
                  </a:cubicBezTo>
                  <a:cubicBezTo>
                    <a:pt x="10857" y="39125"/>
                    <a:pt x="19957" y="48986"/>
                    <a:pt x="27214" y="59872"/>
                  </a:cubicBezTo>
                  <a:lnTo>
                    <a:pt x="48985" y="92529"/>
                  </a:lnTo>
                  <a:cubicBezTo>
                    <a:pt x="57524" y="105339"/>
                    <a:pt x="70757" y="114300"/>
                    <a:pt x="81643" y="125186"/>
                  </a:cubicBezTo>
                  <a:cubicBezTo>
                    <a:pt x="85700" y="129243"/>
                    <a:pt x="92840" y="128063"/>
                    <a:pt x="97971" y="130629"/>
                  </a:cubicBezTo>
                  <a:cubicBezTo>
                    <a:pt x="103822" y="133554"/>
                    <a:pt x="108857" y="137886"/>
                    <a:pt x="114300" y="141514"/>
                  </a:cubicBezTo>
                  <a:cubicBezTo>
                    <a:pt x="116114" y="146957"/>
                    <a:pt x="115686" y="153786"/>
                    <a:pt x="119743" y="157843"/>
                  </a:cubicBezTo>
                  <a:cubicBezTo>
                    <a:pt x="123800" y="161900"/>
                    <a:pt x="130940" y="160720"/>
                    <a:pt x="136071" y="163286"/>
                  </a:cubicBezTo>
                  <a:cubicBezTo>
                    <a:pt x="138366" y="164434"/>
                    <a:pt x="139700" y="166915"/>
                    <a:pt x="141514" y="168729"/>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5" name="Freihandform 81"/>
            <p:cNvSpPr>
              <a:spLocks/>
            </p:cNvSpPr>
            <p:nvPr/>
          </p:nvSpPr>
          <p:spPr bwMode="auto">
            <a:xfrm>
              <a:off x="1460500" y="5484813"/>
              <a:ext cx="133350" cy="179387"/>
            </a:xfrm>
            <a:custGeom>
              <a:avLst/>
              <a:gdLst>
                <a:gd name="T0" fmla="*/ 48554 w 141515"/>
                <a:gd name="T1" fmla="*/ 0 h 239486"/>
                <a:gd name="T2" fmla="*/ 29879 w 141515"/>
                <a:gd name="T3" fmla="*/ 59 h 239486"/>
                <a:gd name="T4" fmla="*/ 18676 w 141515"/>
                <a:gd name="T5" fmla="*/ 210 h 239486"/>
                <a:gd name="T6" fmla="*/ 13074 w 141515"/>
                <a:gd name="T7" fmla="*/ 510 h 239486"/>
                <a:gd name="T8" fmla="*/ 7472 w 141515"/>
                <a:gd name="T9" fmla="*/ 1170 h 239486"/>
                <a:gd name="T10" fmla="*/ 5602 w 141515"/>
                <a:gd name="T11" fmla="*/ 1260 h 239486"/>
                <a:gd name="T12" fmla="*/ 0 w 141515"/>
                <a:gd name="T13" fmla="*/ 1320 h 239486"/>
                <a:gd name="T14" fmla="*/ 0 60000 65536"/>
                <a:gd name="T15" fmla="*/ 0 60000 65536"/>
                <a:gd name="T16" fmla="*/ 0 60000 65536"/>
                <a:gd name="T17" fmla="*/ 0 60000 65536"/>
                <a:gd name="T18" fmla="*/ 0 60000 65536"/>
                <a:gd name="T19" fmla="*/ 0 60000 65536"/>
                <a:gd name="T20" fmla="*/ 0 60000 65536"/>
                <a:gd name="T21" fmla="*/ 0 w 141515"/>
                <a:gd name="T22" fmla="*/ 0 h 239486"/>
                <a:gd name="T23" fmla="*/ 141515 w 141515"/>
                <a:gd name="T24" fmla="*/ 239486 h 2394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515" h="239486">
                  <a:moveTo>
                    <a:pt x="141515" y="0"/>
                  </a:moveTo>
                  <a:cubicBezTo>
                    <a:pt x="134149" y="1228"/>
                    <a:pt x="97419" y="6457"/>
                    <a:pt x="87086" y="10886"/>
                  </a:cubicBezTo>
                  <a:cubicBezTo>
                    <a:pt x="73828" y="16568"/>
                    <a:pt x="64235" y="28294"/>
                    <a:pt x="54429" y="38100"/>
                  </a:cubicBezTo>
                  <a:cubicBezTo>
                    <a:pt x="41177" y="77854"/>
                    <a:pt x="46326" y="59625"/>
                    <a:pt x="38100" y="92529"/>
                  </a:cubicBezTo>
                  <a:cubicBezTo>
                    <a:pt x="34232" y="146690"/>
                    <a:pt x="37283" y="165741"/>
                    <a:pt x="21772" y="212272"/>
                  </a:cubicBezTo>
                  <a:cubicBezTo>
                    <a:pt x="19958" y="217715"/>
                    <a:pt x="19913" y="224120"/>
                    <a:pt x="16329" y="228600"/>
                  </a:cubicBezTo>
                  <a:cubicBezTo>
                    <a:pt x="12242" y="233708"/>
                    <a:pt x="0" y="239486"/>
                    <a:pt x="0" y="239486"/>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6" name="Freihandform 82"/>
            <p:cNvSpPr>
              <a:spLocks/>
            </p:cNvSpPr>
            <p:nvPr/>
          </p:nvSpPr>
          <p:spPr bwMode="auto">
            <a:xfrm>
              <a:off x="1527175" y="5476875"/>
              <a:ext cx="60325" cy="176213"/>
            </a:xfrm>
            <a:custGeom>
              <a:avLst/>
              <a:gdLst>
                <a:gd name="T0" fmla="*/ 15625 w 65314"/>
                <a:gd name="T1" fmla="*/ 0 h 234043"/>
                <a:gd name="T2" fmla="*/ 9114 w 65314"/>
                <a:gd name="T3" fmla="*/ 66 h 234043"/>
                <a:gd name="T4" fmla="*/ 6511 w 65314"/>
                <a:gd name="T5" fmla="*/ 164 h 234043"/>
                <a:gd name="T6" fmla="*/ 2605 w 65314"/>
                <a:gd name="T7" fmla="*/ 230 h 234043"/>
                <a:gd name="T8" fmla="*/ 2605 w 65314"/>
                <a:gd name="T9" fmla="*/ 1184 h 234043"/>
                <a:gd name="T10" fmla="*/ 1302 w 65314"/>
                <a:gd name="T11" fmla="*/ 1316 h 234043"/>
                <a:gd name="T12" fmla="*/ 0 w 65314"/>
                <a:gd name="T13" fmla="*/ 1415 h 234043"/>
                <a:gd name="T14" fmla="*/ 0 60000 65536"/>
                <a:gd name="T15" fmla="*/ 0 60000 65536"/>
                <a:gd name="T16" fmla="*/ 0 60000 65536"/>
                <a:gd name="T17" fmla="*/ 0 60000 65536"/>
                <a:gd name="T18" fmla="*/ 0 60000 65536"/>
                <a:gd name="T19" fmla="*/ 0 60000 65536"/>
                <a:gd name="T20" fmla="*/ 0 60000 65536"/>
                <a:gd name="T21" fmla="*/ 0 w 65314"/>
                <a:gd name="T22" fmla="*/ 0 h 234043"/>
                <a:gd name="T23" fmla="*/ 65314 w 65314"/>
                <a:gd name="T24" fmla="*/ 234043 h 2340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314" h="234043">
                  <a:moveTo>
                    <a:pt x="65314" y="0"/>
                  </a:moveTo>
                  <a:cubicBezTo>
                    <a:pt x="56243" y="3629"/>
                    <a:pt x="46050" y="5207"/>
                    <a:pt x="38100" y="10886"/>
                  </a:cubicBezTo>
                  <a:cubicBezTo>
                    <a:pt x="32777" y="14688"/>
                    <a:pt x="31840" y="22589"/>
                    <a:pt x="27214" y="27215"/>
                  </a:cubicBezTo>
                  <a:cubicBezTo>
                    <a:pt x="22588" y="31840"/>
                    <a:pt x="16328" y="34472"/>
                    <a:pt x="10885" y="38100"/>
                  </a:cubicBezTo>
                  <a:cubicBezTo>
                    <a:pt x="18011" y="116490"/>
                    <a:pt x="19525" y="100904"/>
                    <a:pt x="10885" y="195943"/>
                  </a:cubicBezTo>
                  <a:cubicBezTo>
                    <a:pt x="10208" y="203393"/>
                    <a:pt x="7497" y="210522"/>
                    <a:pt x="5442" y="217715"/>
                  </a:cubicBezTo>
                  <a:cubicBezTo>
                    <a:pt x="3866" y="223231"/>
                    <a:pt x="0" y="234043"/>
                    <a:pt x="0" y="234043"/>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7" name="Freihandform 83"/>
            <p:cNvSpPr>
              <a:spLocks/>
            </p:cNvSpPr>
            <p:nvPr/>
          </p:nvSpPr>
          <p:spPr bwMode="auto">
            <a:xfrm>
              <a:off x="2011363" y="5461000"/>
              <a:ext cx="147637" cy="150813"/>
            </a:xfrm>
            <a:custGeom>
              <a:avLst/>
              <a:gdLst>
                <a:gd name="T0" fmla="*/ 0 w 157850"/>
                <a:gd name="T1" fmla="*/ 0 h 201386"/>
                <a:gd name="T2" fmla="*/ 9797 w 157850"/>
                <a:gd name="T3" fmla="*/ 150 h 201386"/>
                <a:gd name="T4" fmla="*/ 17961 w 157850"/>
                <a:gd name="T5" fmla="*/ 298 h 201386"/>
                <a:gd name="T6" fmla="*/ 31024 w 157850"/>
                <a:gd name="T7" fmla="*/ 568 h 201386"/>
                <a:gd name="T8" fmla="*/ 35923 w 157850"/>
                <a:gd name="T9" fmla="*/ 598 h 201386"/>
                <a:gd name="T10" fmla="*/ 44087 w 157850"/>
                <a:gd name="T11" fmla="*/ 866 h 201386"/>
                <a:gd name="T12" fmla="*/ 45719 w 157850"/>
                <a:gd name="T13" fmla="*/ 956 h 201386"/>
                <a:gd name="T14" fmla="*/ 47352 w 157850"/>
                <a:gd name="T15" fmla="*/ 1105 h 201386"/>
                <a:gd name="T16" fmla="*/ 0 60000 65536"/>
                <a:gd name="T17" fmla="*/ 0 60000 65536"/>
                <a:gd name="T18" fmla="*/ 0 60000 65536"/>
                <a:gd name="T19" fmla="*/ 0 60000 65536"/>
                <a:gd name="T20" fmla="*/ 0 60000 65536"/>
                <a:gd name="T21" fmla="*/ 0 60000 65536"/>
                <a:gd name="T22" fmla="*/ 0 60000 65536"/>
                <a:gd name="T23" fmla="*/ 0 60000 65536"/>
                <a:gd name="T24" fmla="*/ 0 w 157850"/>
                <a:gd name="T25" fmla="*/ 0 h 201386"/>
                <a:gd name="T26" fmla="*/ 157850 w 157850"/>
                <a:gd name="T27" fmla="*/ 201386 h 2013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850" h="201386">
                  <a:moveTo>
                    <a:pt x="0" y="0"/>
                  </a:moveTo>
                  <a:cubicBezTo>
                    <a:pt x="10886" y="9071"/>
                    <a:pt x="22637" y="17194"/>
                    <a:pt x="32657" y="27214"/>
                  </a:cubicBezTo>
                  <a:cubicBezTo>
                    <a:pt x="68946" y="63503"/>
                    <a:pt x="16327" y="25398"/>
                    <a:pt x="59871" y="54429"/>
                  </a:cubicBezTo>
                  <a:cubicBezTo>
                    <a:pt x="79297" y="83566"/>
                    <a:pt x="66132" y="66132"/>
                    <a:pt x="103414" y="103414"/>
                  </a:cubicBezTo>
                  <a:cubicBezTo>
                    <a:pt x="107471" y="107471"/>
                    <a:pt x="114300" y="107043"/>
                    <a:pt x="119743" y="108857"/>
                  </a:cubicBezTo>
                  <a:cubicBezTo>
                    <a:pt x="129323" y="137598"/>
                    <a:pt x="122003" y="120412"/>
                    <a:pt x="146957" y="157843"/>
                  </a:cubicBezTo>
                  <a:cubicBezTo>
                    <a:pt x="150139" y="162617"/>
                    <a:pt x="150824" y="168655"/>
                    <a:pt x="152400" y="174171"/>
                  </a:cubicBezTo>
                  <a:cubicBezTo>
                    <a:pt x="158283" y="194761"/>
                    <a:pt x="157843" y="189176"/>
                    <a:pt x="157843" y="201386"/>
                  </a:cubicBezTo>
                </a:path>
              </a:pathLst>
            </a:custGeom>
            <a:noFill/>
            <a:ln w="6350">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8" name="Freihandform 84"/>
            <p:cNvSpPr>
              <a:spLocks/>
            </p:cNvSpPr>
            <p:nvPr/>
          </p:nvSpPr>
          <p:spPr bwMode="auto">
            <a:xfrm>
              <a:off x="1995488" y="5448300"/>
              <a:ext cx="71437" cy="228600"/>
            </a:xfrm>
            <a:custGeom>
              <a:avLst/>
              <a:gdLst>
                <a:gd name="T0" fmla="*/ 17032 w 76200"/>
                <a:gd name="T1" fmla="*/ 0 h 304800"/>
                <a:gd name="T2" fmla="*/ 20438 w 76200"/>
                <a:gd name="T3" fmla="*/ 308 h 304800"/>
                <a:gd name="T4" fmla="*/ 22141 w 76200"/>
                <a:gd name="T5" fmla="*/ 522 h 304800"/>
                <a:gd name="T6" fmla="*/ 23844 w 76200"/>
                <a:gd name="T7" fmla="*/ 706 h 304800"/>
                <a:gd name="T8" fmla="*/ 22141 w 76200"/>
                <a:gd name="T9" fmla="*/ 1075 h 304800"/>
                <a:gd name="T10" fmla="*/ 10219 w 76200"/>
                <a:gd name="T11" fmla="*/ 1350 h 304800"/>
                <a:gd name="T12" fmla="*/ 5110 w 76200"/>
                <a:gd name="T13" fmla="*/ 1535 h 304800"/>
                <a:gd name="T14" fmla="*/ 0 w 76200"/>
                <a:gd name="T15" fmla="*/ 1626 h 304800"/>
                <a:gd name="T16" fmla="*/ 1704 w 76200"/>
                <a:gd name="T17" fmla="*/ 1718 h 3048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304800"/>
                <a:gd name="T29" fmla="*/ 76200 w 76200"/>
                <a:gd name="T30" fmla="*/ 304800 h 3048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304800">
                  <a:moveTo>
                    <a:pt x="54429" y="0"/>
                  </a:moveTo>
                  <a:lnTo>
                    <a:pt x="65315" y="54429"/>
                  </a:lnTo>
                  <a:cubicBezTo>
                    <a:pt x="67831" y="67009"/>
                    <a:pt x="68807" y="79849"/>
                    <a:pt x="70758" y="92529"/>
                  </a:cubicBezTo>
                  <a:cubicBezTo>
                    <a:pt x="72436" y="103436"/>
                    <a:pt x="74386" y="114300"/>
                    <a:pt x="76200" y="125186"/>
                  </a:cubicBezTo>
                  <a:cubicBezTo>
                    <a:pt x="74386" y="146957"/>
                    <a:pt x="76605" y="169450"/>
                    <a:pt x="70758" y="190500"/>
                  </a:cubicBezTo>
                  <a:cubicBezTo>
                    <a:pt x="63880" y="215263"/>
                    <a:pt x="46963" y="222319"/>
                    <a:pt x="32658" y="239486"/>
                  </a:cubicBezTo>
                  <a:cubicBezTo>
                    <a:pt x="-10170" y="290879"/>
                    <a:pt x="49063" y="223044"/>
                    <a:pt x="16329" y="272143"/>
                  </a:cubicBezTo>
                  <a:cubicBezTo>
                    <a:pt x="12059" y="278548"/>
                    <a:pt x="5443" y="283029"/>
                    <a:pt x="0" y="288472"/>
                  </a:cubicBezTo>
                  <a:lnTo>
                    <a:pt x="5443" y="304800"/>
                  </a:ln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39" name="Freihandform 85"/>
            <p:cNvSpPr>
              <a:spLocks/>
            </p:cNvSpPr>
            <p:nvPr/>
          </p:nvSpPr>
          <p:spPr bwMode="auto">
            <a:xfrm>
              <a:off x="1944688" y="5448300"/>
              <a:ext cx="112712" cy="212725"/>
            </a:xfrm>
            <a:custGeom>
              <a:avLst/>
              <a:gdLst>
                <a:gd name="T0" fmla="*/ 37462 w 119918"/>
                <a:gd name="T1" fmla="*/ 0 h 283029"/>
                <a:gd name="T2" fmla="*/ 39246 w 119918"/>
                <a:gd name="T3" fmla="*/ 160 h 283029"/>
                <a:gd name="T4" fmla="*/ 35678 w 119918"/>
                <a:gd name="T5" fmla="*/ 256 h 283029"/>
                <a:gd name="T6" fmla="*/ 32110 w 119918"/>
                <a:gd name="T7" fmla="*/ 446 h 283029"/>
                <a:gd name="T8" fmla="*/ 28542 w 119918"/>
                <a:gd name="T9" fmla="*/ 543 h 283029"/>
                <a:gd name="T10" fmla="*/ 24974 w 119918"/>
                <a:gd name="T11" fmla="*/ 765 h 283029"/>
                <a:gd name="T12" fmla="*/ 23191 w 119918"/>
                <a:gd name="T13" fmla="*/ 861 h 283029"/>
                <a:gd name="T14" fmla="*/ 17839 w 119918"/>
                <a:gd name="T15" fmla="*/ 956 h 283029"/>
                <a:gd name="T16" fmla="*/ 12488 w 119918"/>
                <a:gd name="T17" fmla="*/ 1148 h 283029"/>
                <a:gd name="T18" fmla="*/ 10703 w 119918"/>
                <a:gd name="T19" fmla="*/ 1243 h 283029"/>
                <a:gd name="T20" fmla="*/ 7136 w 119918"/>
                <a:gd name="T21" fmla="*/ 1499 h 283029"/>
                <a:gd name="T22" fmla="*/ 0 w 119918"/>
                <a:gd name="T23" fmla="*/ 1658 h 2830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918"/>
                <a:gd name="T37" fmla="*/ 0 h 283029"/>
                <a:gd name="T38" fmla="*/ 119918 w 119918"/>
                <a:gd name="T39" fmla="*/ 283029 h 2830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918" h="283029">
                  <a:moveTo>
                    <a:pt x="114300" y="0"/>
                  </a:moveTo>
                  <a:cubicBezTo>
                    <a:pt x="116114" y="9072"/>
                    <a:pt x="120891" y="18035"/>
                    <a:pt x="119743" y="27215"/>
                  </a:cubicBezTo>
                  <a:cubicBezTo>
                    <a:pt x="118932" y="33706"/>
                    <a:pt x="111514" y="37565"/>
                    <a:pt x="108857" y="43543"/>
                  </a:cubicBezTo>
                  <a:cubicBezTo>
                    <a:pt x="104197" y="54028"/>
                    <a:pt x="104336" y="66652"/>
                    <a:pt x="97971" y="76200"/>
                  </a:cubicBezTo>
                  <a:cubicBezTo>
                    <a:pt x="94343" y="81643"/>
                    <a:pt x="90011" y="86678"/>
                    <a:pt x="87086" y="92529"/>
                  </a:cubicBezTo>
                  <a:cubicBezTo>
                    <a:pt x="82736" y="101230"/>
                    <a:pt x="78525" y="122490"/>
                    <a:pt x="76200" y="130629"/>
                  </a:cubicBezTo>
                  <a:cubicBezTo>
                    <a:pt x="74624" y="136146"/>
                    <a:pt x="73940" y="142184"/>
                    <a:pt x="70757" y="146958"/>
                  </a:cubicBezTo>
                  <a:cubicBezTo>
                    <a:pt x="66487" y="153363"/>
                    <a:pt x="59871" y="157843"/>
                    <a:pt x="54428" y="163286"/>
                  </a:cubicBezTo>
                  <a:cubicBezTo>
                    <a:pt x="40752" y="204323"/>
                    <a:pt x="59199" y="153746"/>
                    <a:pt x="38100" y="195943"/>
                  </a:cubicBezTo>
                  <a:cubicBezTo>
                    <a:pt x="35534" y="201075"/>
                    <a:pt x="34167" y="206737"/>
                    <a:pt x="32657" y="212272"/>
                  </a:cubicBezTo>
                  <a:cubicBezTo>
                    <a:pt x="28720" y="226706"/>
                    <a:pt x="26884" y="241755"/>
                    <a:pt x="21771" y="255815"/>
                  </a:cubicBezTo>
                  <a:cubicBezTo>
                    <a:pt x="17847" y="266605"/>
                    <a:pt x="7817" y="275212"/>
                    <a:pt x="0" y="283029"/>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0" name="Freihandform 86"/>
            <p:cNvSpPr>
              <a:spLocks/>
            </p:cNvSpPr>
            <p:nvPr/>
          </p:nvSpPr>
          <p:spPr bwMode="auto">
            <a:xfrm>
              <a:off x="1843088" y="5448300"/>
              <a:ext cx="182562" cy="111125"/>
            </a:xfrm>
            <a:custGeom>
              <a:avLst/>
              <a:gdLst>
                <a:gd name="T0" fmla="*/ 54850 w 195943"/>
                <a:gd name="T1" fmla="*/ 0 h 149013"/>
                <a:gd name="T2" fmla="*/ 50281 w 195943"/>
                <a:gd name="T3" fmla="*/ 138 h 149013"/>
                <a:gd name="T4" fmla="*/ 41138 w 195943"/>
                <a:gd name="T5" fmla="*/ 277 h 149013"/>
                <a:gd name="T6" fmla="*/ 30472 w 195943"/>
                <a:gd name="T7" fmla="*/ 415 h 149013"/>
                <a:gd name="T8" fmla="*/ 24378 w 195943"/>
                <a:gd name="T9" fmla="*/ 582 h 149013"/>
                <a:gd name="T10" fmla="*/ 19807 w 195943"/>
                <a:gd name="T11" fmla="*/ 748 h 149013"/>
                <a:gd name="T12" fmla="*/ 0 w 195943"/>
                <a:gd name="T13" fmla="*/ 748 h 149013"/>
                <a:gd name="T14" fmla="*/ 0 60000 65536"/>
                <a:gd name="T15" fmla="*/ 0 60000 65536"/>
                <a:gd name="T16" fmla="*/ 0 60000 65536"/>
                <a:gd name="T17" fmla="*/ 0 60000 65536"/>
                <a:gd name="T18" fmla="*/ 0 60000 65536"/>
                <a:gd name="T19" fmla="*/ 0 60000 65536"/>
                <a:gd name="T20" fmla="*/ 0 60000 65536"/>
                <a:gd name="T21" fmla="*/ 0 w 195943"/>
                <a:gd name="T22" fmla="*/ 0 h 149013"/>
                <a:gd name="T23" fmla="*/ 195943 w 195943"/>
                <a:gd name="T24" fmla="*/ 149013 h 1490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943" h="149013">
                  <a:moveTo>
                    <a:pt x="195943" y="0"/>
                  </a:moveTo>
                  <a:cubicBezTo>
                    <a:pt x="190500" y="9071"/>
                    <a:pt x="185961" y="18751"/>
                    <a:pt x="179614" y="27214"/>
                  </a:cubicBezTo>
                  <a:cubicBezTo>
                    <a:pt x="163707" y="48423"/>
                    <a:pt x="165402" y="39057"/>
                    <a:pt x="146957" y="54428"/>
                  </a:cubicBezTo>
                  <a:cubicBezTo>
                    <a:pt x="113855" y="82013"/>
                    <a:pt x="149148" y="61497"/>
                    <a:pt x="108857" y="81643"/>
                  </a:cubicBezTo>
                  <a:lnTo>
                    <a:pt x="87086" y="114300"/>
                  </a:lnTo>
                  <a:cubicBezTo>
                    <a:pt x="83246" y="120060"/>
                    <a:pt x="80639" y="144981"/>
                    <a:pt x="70757" y="146957"/>
                  </a:cubicBezTo>
                  <a:cubicBezTo>
                    <a:pt x="47629" y="151583"/>
                    <a:pt x="23586" y="146957"/>
                    <a:pt x="0" y="146957"/>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1" name="Freihandform 87"/>
            <p:cNvSpPr>
              <a:spLocks/>
            </p:cNvSpPr>
            <p:nvPr/>
          </p:nvSpPr>
          <p:spPr bwMode="auto">
            <a:xfrm>
              <a:off x="2489200" y="5468938"/>
              <a:ext cx="138113" cy="184150"/>
            </a:xfrm>
            <a:custGeom>
              <a:avLst/>
              <a:gdLst>
                <a:gd name="T0" fmla="*/ 0 w 146957"/>
                <a:gd name="T1" fmla="*/ 0 h 244928"/>
                <a:gd name="T2" fmla="*/ 5343 w 146957"/>
                <a:gd name="T3" fmla="*/ 353 h 244928"/>
                <a:gd name="T4" fmla="*/ 7125 w 146957"/>
                <a:gd name="T5" fmla="*/ 449 h 244928"/>
                <a:gd name="T6" fmla="*/ 10686 w 146957"/>
                <a:gd name="T7" fmla="*/ 546 h 244928"/>
                <a:gd name="T8" fmla="*/ 19590 w 146957"/>
                <a:gd name="T9" fmla="*/ 834 h 244928"/>
                <a:gd name="T10" fmla="*/ 24932 w 146957"/>
                <a:gd name="T11" fmla="*/ 898 h 244928"/>
                <a:gd name="T12" fmla="*/ 39176 w 146957"/>
                <a:gd name="T13" fmla="*/ 1283 h 244928"/>
                <a:gd name="T14" fmla="*/ 42739 w 146957"/>
                <a:gd name="T15" fmla="*/ 1380 h 244928"/>
                <a:gd name="T16" fmla="*/ 48083 w 146957"/>
                <a:gd name="T17" fmla="*/ 1444 h 2449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6957"/>
                <a:gd name="T28" fmla="*/ 0 h 244928"/>
                <a:gd name="T29" fmla="*/ 146957 w 146957"/>
                <a:gd name="T30" fmla="*/ 244928 h 2449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6957" h="244928">
                  <a:moveTo>
                    <a:pt x="0" y="0"/>
                  </a:moveTo>
                  <a:cubicBezTo>
                    <a:pt x="7692" y="38467"/>
                    <a:pt x="2516" y="18437"/>
                    <a:pt x="16328" y="59871"/>
                  </a:cubicBezTo>
                  <a:cubicBezTo>
                    <a:pt x="18142" y="65314"/>
                    <a:pt x="18588" y="71426"/>
                    <a:pt x="21771" y="76200"/>
                  </a:cubicBezTo>
                  <a:lnTo>
                    <a:pt x="32657" y="92528"/>
                  </a:lnTo>
                  <a:cubicBezTo>
                    <a:pt x="42237" y="121269"/>
                    <a:pt x="34917" y="104083"/>
                    <a:pt x="59871" y="141514"/>
                  </a:cubicBezTo>
                  <a:cubicBezTo>
                    <a:pt x="63500" y="146957"/>
                    <a:pt x="70757" y="148771"/>
                    <a:pt x="76200" y="152400"/>
                  </a:cubicBezTo>
                  <a:lnTo>
                    <a:pt x="119742" y="217714"/>
                  </a:lnTo>
                  <a:cubicBezTo>
                    <a:pt x="123371" y="223157"/>
                    <a:pt x="125185" y="230415"/>
                    <a:pt x="130628" y="234043"/>
                  </a:cubicBezTo>
                  <a:lnTo>
                    <a:pt x="146957" y="244928"/>
                  </a:ln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2" name="Freihandform 88"/>
            <p:cNvSpPr>
              <a:spLocks/>
            </p:cNvSpPr>
            <p:nvPr/>
          </p:nvSpPr>
          <p:spPr bwMode="auto">
            <a:xfrm>
              <a:off x="2397125" y="5472113"/>
              <a:ext cx="103188" cy="163512"/>
            </a:xfrm>
            <a:custGeom>
              <a:avLst/>
              <a:gdLst>
                <a:gd name="T0" fmla="*/ 37929 w 109116"/>
                <a:gd name="T1" fmla="*/ 0 h 217714"/>
                <a:gd name="T2" fmla="*/ 37929 w 109116"/>
                <a:gd name="T3" fmla="*/ 283 h 217714"/>
                <a:gd name="T4" fmla="*/ 35937 w 109116"/>
                <a:gd name="T5" fmla="*/ 377 h 217714"/>
                <a:gd name="T6" fmla="*/ 27969 w 109116"/>
                <a:gd name="T7" fmla="*/ 440 h 217714"/>
                <a:gd name="T8" fmla="*/ 16022 w 109116"/>
                <a:gd name="T9" fmla="*/ 629 h 217714"/>
                <a:gd name="T10" fmla="*/ 6065 w 109116"/>
                <a:gd name="T11" fmla="*/ 787 h 217714"/>
                <a:gd name="T12" fmla="*/ 4073 w 109116"/>
                <a:gd name="T13" fmla="*/ 912 h 217714"/>
                <a:gd name="T14" fmla="*/ 91 w 109116"/>
                <a:gd name="T15" fmla="*/ 1259 h 217714"/>
                <a:gd name="T16" fmla="*/ 0 60000 65536"/>
                <a:gd name="T17" fmla="*/ 0 60000 65536"/>
                <a:gd name="T18" fmla="*/ 0 60000 65536"/>
                <a:gd name="T19" fmla="*/ 0 60000 65536"/>
                <a:gd name="T20" fmla="*/ 0 60000 65536"/>
                <a:gd name="T21" fmla="*/ 0 60000 65536"/>
                <a:gd name="T22" fmla="*/ 0 60000 65536"/>
                <a:gd name="T23" fmla="*/ 0 60000 65536"/>
                <a:gd name="T24" fmla="*/ 0 w 109116"/>
                <a:gd name="T25" fmla="*/ 0 h 217714"/>
                <a:gd name="T26" fmla="*/ 109116 w 109116"/>
                <a:gd name="T27" fmla="*/ 217714 h 2177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116" h="217714">
                  <a:moveTo>
                    <a:pt x="103662" y="0"/>
                  </a:moveTo>
                  <a:cubicBezTo>
                    <a:pt x="110013" y="31756"/>
                    <a:pt x="111801" y="20498"/>
                    <a:pt x="103662" y="48985"/>
                  </a:cubicBezTo>
                  <a:cubicBezTo>
                    <a:pt x="102086" y="54502"/>
                    <a:pt x="102277" y="61257"/>
                    <a:pt x="98220" y="65314"/>
                  </a:cubicBezTo>
                  <a:cubicBezTo>
                    <a:pt x="92483" y="71052"/>
                    <a:pt x="82784" y="71131"/>
                    <a:pt x="76448" y="76200"/>
                  </a:cubicBezTo>
                  <a:cubicBezTo>
                    <a:pt x="64427" y="85817"/>
                    <a:pt x="43791" y="108857"/>
                    <a:pt x="43791" y="108857"/>
                  </a:cubicBezTo>
                  <a:cubicBezTo>
                    <a:pt x="28384" y="155076"/>
                    <a:pt x="53942" y="91232"/>
                    <a:pt x="16577" y="136071"/>
                  </a:cubicBezTo>
                  <a:cubicBezTo>
                    <a:pt x="11788" y="141818"/>
                    <a:pt x="13284" y="150677"/>
                    <a:pt x="11134" y="157842"/>
                  </a:cubicBezTo>
                  <a:cubicBezTo>
                    <a:pt x="-2621" y="203690"/>
                    <a:pt x="248" y="175401"/>
                    <a:pt x="248" y="217714"/>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3" name="Freihandform 89"/>
            <p:cNvSpPr>
              <a:spLocks/>
            </p:cNvSpPr>
            <p:nvPr/>
          </p:nvSpPr>
          <p:spPr bwMode="auto">
            <a:xfrm>
              <a:off x="2489200" y="5453063"/>
              <a:ext cx="25400" cy="211137"/>
            </a:xfrm>
            <a:custGeom>
              <a:avLst/>
              <a:gdLst>
                <a:gd name="T0" fmla="*/ 2842 w 27367"/>
                <a:gd name="T1" fmla="*/ 0 h 283029"/>
                <a:gd name="T2" fmla="*/ 1421 w 27367"/>
                <a:gd name="T3" fmla="*/ 307 h 283029"/>
                <a:gd name="T4" fmla="*/ 0 w 27367"/>
                <a:gd name="T5" fmla="*/ 389 h 283029"/>
                <a:gd name="T6" fmla="*/ 1421 w 27367"/>
                <a:gd name="T7" fmla="*/ 780 h 283029"/>
                <a:gd name="T8" fmla="*/ 2842 w 27367"/>
                <a:gd name="T9" fmla="*/ 919 h 283029"/>
                <a:gd name="T10" fmla="*/ 4265 w 27367"/>
                <a:gd name="T11" fmla="*/ 1170 h 283029"/>
                <a:gd name="T12" fmla="*/ 7109 w 27367"/>
                <a:gd name="T13" fmla="*/ 1449 h 283029"/>
                <a:gd name="T14" fmla="*/ 0 60000 65536"/>
                <a:gd name="T15" fmla="*/ 0 60000 65536"/>
                <a:gd name="T16" fmla="*/ 0 60000 65536"/>
                <a:gd name="T17" fmla="*/ 0 60000 65536"/>
                <a:gd name="T18" fmla="*/ 0 60000 65536"/>
                <a:gd name="T19" fmla="*/ 0 60000 65536"/>
                <a:gd name="T20" fmla="*/ 0 60000 65536"/>
                <a:gd name="T21" fmla="*/ 0 w 27367"/>
                <a:gd name="T22" fmla="*/ 0 h 283029"/>
                <a:gd name="T23" fmla="*/ 27367 w 27367"/>
                <a:gd name="T24" fmla="*/ 283029 h 2830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367" h="283029">
                  <a:moveTo>
                    <a:pt x="10885" y="0"/>
                  </a:moveTo>
                  <a:cubicBezTo>
                    <a:pt x="18579" y="38468"/>
                    <a:pt x="19253" y="18437"/>
                    <a:pt x="5442" y="59872"/>
                  </a:cubicBezTo>
                  <a:lnTo>
                    <a:pt x="0" y="76200"/>
                  </a:lnTo>
                  <a:cubicBezTo>
                    <a:pt x="1814" y="101600"/>
                    <a:pt x="2776" y="127075"/>
                    <a:pt x="5442" y="152400"/>
                  </a:cubicBezTo>
                  <a:cubicBezTo>
                    <a:pt x="6410" y="161600"/>
                    <a:pt x="9577" y="170457"/>
                    <a:pt x="10885" y="179615"/>
                  </a:cubicBezTo>
                  <a:cubicBezTo>
                    <a:pt x="13208" y="195879"/>
                    <a:pt x="13106" y="212490"/>
                    <a:pt x="16328" y="228600"/>
                  </a:cubicBezTo>
                  <a:cubicBezTo>
                    <a:pt x="29509" y="294503"/>
                    <a:pt x="27214" y="233110"/>
                    <a:pt x="27214" y="283029"/>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4" name="Freihandform 90"/>
            <p:cNvSpPr>
              <a:spLocks/>
            </p:cNvSpPr>
            <p:nvPr/>
          </p:nvSpPr>
          <p:spPr bwMode="auto">
            <a:xfrm>
              <a:off x="2373313" y="5427663"/>
              <a:ext cx="141287" cy="163512"/>
            </a:xfrm>
            <a:custGeom>
              <a:avLst/>
              <a:gdLst>
                <a:gd name="T0" fmla="*/ 39002 w 152400"/>
                <a:gd name="T1" fmla="*/ 0 h 217714"/>
                <a:gd name="T2" fmla="*/ 34824 w 152400"/>
                <a:gd name="T3" fmla="*/ 189 h 217714"/>
                <a:gd name="T4" fmla="*/ 30645 w 152400"/>
                <a:gd name="T5" fmla="*/ 221 h 217714"/>
                <a:gd name="T6" fmla="*/ 26465 w 152400"/>
                <a:gd name="T7" fmla="*/ 409 h 217714"/>
                <a:gd name="T8" fmla="*/ 22287 w 152400"/>
                <a:gd name="T9" fmla="*/ 472 h 217714"/>
                <a:gd name="T10" fmla="*/ 16715 w 152400"/>
                <a:gd name="T11" fmla="*/ 755 h 217714"/>
                <a:gd name="T12" fmla="*/ 15322 w 152400"/>
                <a:gd name="T13" fmla="*/ 849 h 217714"/>
                <a:gd name="T14" fmla="*/ 6964 w 152400"/>
                <a:gd name="T15" fmla="*/ 976 h 217714"/>
                <a:gd name="T16" fmla="*/ 5573 w 152400"/>
                <a:gd name="T17" fmla="*/ 1069 h 217714"/>
                <a:gd name="T18" fmla="*/ 1393 w 152400"/>
                <a:gd name="T19" fmla="*/ 1195 h 217714"/>
                <a:gd name="T20" fmla="*/ 0 w 152400"/>
                <a:gd name="T21" fmla="*/ 1259 h 2177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2400"/>
                <a:gd name="T34" fmla="*/ 0 h 217714"/>
                <a:gd name="T35" fmla="*/ 152400 w 152400"/>
                <a:gd name="T36" fmla="*/ 217714 h 2177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2400" h="217714">
                  <a:moveTo>
                    <a:pt x="152400" y="0"/>
                  </a:moveTo>
                  <a:cubicBezTo>
                    <a:pt x="146957" y="10886"/>
                    <a:pt x="143992" y="23416"/>
                    <a:pt x="136072" y="32657"/>
                  </a:cubicBezTo>
                  <a:cubicBezTo>
                    <a:pt x="132338" y="37013"/>
                    <a:pt x="124223" y="34516"/>
                    <a:pt x="119743" y="38100"/>
                  </a:cubicBezTo>
                  <a:cubicBezTo>
                    <a:pt x="94254" y="58492"/>
                    <a:pt x="120942" y="48847"/>
                    <a:pt x="103414" y="70757"/>
                  </a:cubicBezTo>
                  <a:cubicBezTo>
                    <a:pt x="99328" y="75865"/>
                    <a:pt x="92529" y="78014"/>
                    <a:pt x="87086" y="81643"/>
                  </a:cubicBezTo>
                  <a:cubicBezTo>
                    <a:pt x="74131" y="120506"/>
                    <a:pt x="82565" y="104753"/>
                    <a:pt x="65314" y="130629"/>
                  </a:cubicBezTo>
                  <a:cubicBezTo>
                    <a:pt x="63500" y="136072"/>
                    <a:pt x="63054" y="142184"/>
                    <a:pt x="59872" y="146957"/>
                  </a:cubicBezTo>
                  <a:cubicBezTo>
                    <a:pt x="48223" y="164431"/>
                    <a:pt x="44333" y="163023"/>
                    <a:pt x="27214" y="168729"/>
                  </a:cubicBezTo>
                  <a:cubicBezTo>
                    <a:pt x="25400" y="174172"/>
                    <a:pt x="24618" y="180076"/>
                    <a:pt x="21772" y="185057"/>
                  </a:cubicBezTo>
                  <a:cubicBezTo>
                    <a:pt x="17271" y="192933"/>
                    <a:pt x="10475" y="199281"/>
                    <a:pt x="5443" y="206829"/>
                  </a:cubicBezTo>
                  <a:cubicBezTo>
                    <a:pt x="3193" y="210204"/>
                    <a:pt x="1814" y="214086"/>
                    <a:pt x="0" y="217714"/>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5" name="Freihandform 95"/>
            <p:cNvSpPr>
              <a:spLocks/>
            </p:cNvSpPr>
            <p:nvPr/>
          </p:nvSpPr>
          <p:spPr bwMode="auto">
            <a:xfrm>
              <a:off x="3008313" y="5445125"/>
              <a:ext cx="163512" cy="163513"/>
            </a:xfrm>
            <a:custGeom>
              <a:avLst/>
              <a:gdLst>
                <a:gd name="T0" fmla="*/ 0 w 174172"/>
                <a:gd name="T1" fmla="*/ 0 h 217714"/>
                <a:gd name="T2" fmla="*/ 3493 w 174172"/>
                <a:gd name="T3" fmla="*/ 158 h 217714"/>
                <a:gd name="T4" fmla="*/ 6986 w 174172"/>
                <a:gd name="T5" fmla="*/ 283 h 217714"/>
                <a:gd name="T6" fmla="*/ 10476 w 174172"/>
                <a:gd name="T7" fmla="*/ 503 h 217714"/>
                <a:gd name="T8" fmla="*/ 20955 w 174172"/>
                <a:gd name="T9" fmla="*/ 629 h 217714"/>
                <a:gd name="T10" fmla="*/ 26193 w 174172"/>
                <a:gd name="T11" fmla="*/ 692 h 217714"/>
                <a:gd name="T12" fmla="*/ 31433 w 174172"/>
                <a:gd name="T13" fmla="*/ 787 h 217714"/>
                <a:gd name="T14" fmla="*/ 36671 w 174172"/>
                <a:gd name="T15" fmla="*/ 818 h 217714"/>
                <a:gd name="T16" fmla="*/ 41912 w 174172"/>
                <a:gd name="T17" fmla="*/ 881 h 217714"/>
                <a:gd name="T18" fmla="*/ 45403 w 174172"/>
                <a:gd name="T19" fmla="*/ 976 h 217714"/>
                <a:gd name="T20" fmla="*/ 54135 w 174172"/>
                <a:gd name="T21" fmla="*/ 1259 h 217714"/>
                <a:gd name="T22" fmla="*/ 55879 w 174172"/>
                <a:gd name="T23" fmla="*/ 1259 h 2177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4172"/>
                <a:gd name="T37" fmla="*/ 0 h 217714"/>
                <a:gd name="T38" fmla="*/ 174172 w 174172"/>
                <a:gd name="T39" fmla="*/ 217714 h 2177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4172" h="217714">
                  <a:moveTo>
                    <a:pt x="0" y="0"/>
                  </a:moveTo>
                  <a:cubicBezTo>
                    <a:pt x="3629" y="9071"/>
                    <a:pt x="6918" y="18286"/>
                    <a:pt x="10886" y="27214"/>
                  </a:cubicBezTo>
                  <a:cubicBezTo>
                    <a:pt x="14181" y="34629"/>
                    <a:pt x="18923" y="41389"/>
                    <a:pt x="21772" y="48986"/>
                  </a:cubicBezTo>
                  <a:cubicBezTo>
                    <a:pt x="21858" y="49215"/>
                    <a:pt x="30024" y="84453"/>
                    <a:pt x="32657" y="87086"/>
                  </a:cubicBezTo>
                  <a:cubicBezTo>
                    <a:pt x="41908" y="96337"/>
                    <a:pt x="54428" y="101600"/>
                    <a:pt x="65314" y="108857"/>
                  </a:cubicBezTo>
                  <a:cubicBezTo>
                    <a:pt x="70757" y="112486"/>
                    <a:pt x="77017" y="115117"/>
                    <a:pt x="81643" y="119743"/>
                  </a:cubicBezTo>
                  <a:cubicBezTo>
                    <a:pt x="87086" y="125186"/>
                    <a:pt x="91567" y="131801"/>
                    <a:pt x="97972" y="136071"/>
                  </a:cubicBezTo>
                  <a:cubicBezTo>
                    <a:pt x="102746" y="139253"/>
                    <a:pt x="109169" y="138948"/>
                    <a:pt x="114300" y="141514"/>
                  </a:cubicBezTo>
                  <a:cubicBezTo>
                    <a:pt x="120151" y="144440"/>
                    <a:pt x="125186" y="148771"/>
                    <a:pt x="130629" y="152400"/>
                  </a:cubicBezTo>
                  <a:cubicBezTo>
                    <a:pt x="134257" y="157843"/>
                    <a:pt x="138589" y="162878"/>
                    <a:pt x="141514" y="168729"/>
                  </a:cubicBezTo>
                  <a:cubicBezTo>
                    <a:pt x="147677" y="181055"/>
                    <a:pt x="151568" y="217714"/>
                    <a:pt x="168729" y="217714"/>
                  </a:cubicBezTo>
                  <a:lnTo>
                    <a:pt x="174172" y="217714"/>
                  </a:ln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6" name="Freihandform 98"/>
            <p:cNvSpPr>
              <a:spLocks/>
            </p:cNvSpPr>
            <p:nvPr/>
          </p:nvSpPr>
          <p:spPr bwMode="auto">
            <a:xfrm>
              <a:off x="2981325" y="5516563"/>
              <a:ext cx="71438" cy="215900"/>
            </a:xfrm>
            <a:custGeom>
              <a:avLst/>
              <a:gdLst>
                <a:gd name="T0" fmla="*/ 0 w 76200"/>
                <a:gd name="T1" fmla="*/ 0 h 239486"/>
                <a:gd name="T2" fmla="*/ 1704 w 76200"/>
                <a:gd name="T3" fmla="*/ 4211 h 239486"/>
                <a:gd name="T4" fmla="*/ 3406 w 76200"/>
                <a:gd name="T5" fmla="*/ 10947 h 239486"/>
                <a:gd name="T6" fmla="*/ 6814 w 76200"/>
                <a:gd name="T7" fmla="*/ 13472 h 239486"/>
                <a:gd name="T8" fmla="*/ 8517 w 76200"/>
                <a:gd name="T9" fmla="*/ 15998 h 239486"/>
                <a:gd name="T10" fmla="*/ 13629 w 76200"/>
                <a:gd name="T11" fmla="*/ 18524 h 239486"/>
                <a:gd name="T12" fmla="*/ 20442 w 76200"/>
                <a:gd name="T13" fmla="*/ 23578 h 239486"/>
                <a:gd name="T14" fmla="*/ 22147 w 76200"/>
                <a:gd name="T15" fmla="*/ 26945 h 239486"/>
                <a:gd name="T16" fmla="*/ 23850 w 76200"/>
                <a:gd name="T17" fmla="*/ 3705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147" name="Freihandform 107"/>
            <p:cNvSpPr>
              <a:spLocks/>
            </p:cNvSpPr>
            <p:nvPr/>
          </p:nvSpPr>
          <p:spPr bwMode="auto">
            <a:xfrm>
              <a:off x="1042988" y="5464175"/>
              <a:ext cx="133350" cy="147638"/>
            </a:xfrm>
            <a:custGeom>
              <a:avLst/>
              <a:gdLst>
                <a:gd name="T0" fmla="*/ 48560 w 141514"/>
                <a:gd name="T1" fmla="*/ 0 h 195943"/>
                <a:gd name="T2" fmla="*/ 44824 w 141514"/>
                <a:gd name="T3" fmla="*/ 167 h 195943"/>
                <a:gd name="T4" fmla="*/ 39222 w 141514"/>
                <a:gd name="T5" fmla="*/ 267 h 195943"/>
                <a:gd name="T6" fmla="*/ 31752 w 141514"/>
                <a:gd name="T7" fmla="*/ 500 h 195943"/>
                <a:gd name="T8" fmla="*/ 29884 w 141514"/>
                <a:gd name="T9" fmla="*/ 733 h 195943"/>
                <a:gd name="T10" fmla="*/ 28016 w 141514"/>
                <a:gd name="T11" fmla="*/ 834 h 195943"/>
                <a:gd name="T12" fmla="*/ 22413 w 141514"/>
                <a:gd name="T13" fmla="*/ 900 h 195943"/>
                <a:gd name="T14" fmla="*/ 14941 w 141514"/>
                <a:gd name="T15" fmla="*/ 934 h 195943"/>
                <a:gd name="T16" fmla="*/ 3734 w 141514"/>
                <a:gd name="T17" fmla="*/ 1068 h 195943"/>
                <a:gd name="T18" fmla="*/ 1868 w 141514"/>
                <a:gd name="T19" fmla="*/ 1166 h 195943"/>
                <a:gd name="T20" fmla="*/ 0 w 141514"/>
                <a:gd name="T21" fmla="*/ 1201 h 1959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1514"/>
                <a:gd name="T34" fmla="*/ 0 h 195943"/>
                <a:gd name="T35" fmla="*/ 141514 w 141514"/>
                <a:gd name="T36" fmla="*/ 195943 h 1959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1514" h="195943">
                  <a:moveTo>
                    <a:pt x="141514" y="0"/>
                  </a:moveTo>
                  <a:cubicBezTo>
                    <a:pt x="137886" y="9071"/>
                    <a:pt x="135807" y="18929"/>
                    <a:pt x="130629" y="27214"/>
                  </a:cubicBezTo>
                  <a:cubicBezTo>
                    <a:pt x="126549" y="33742"/>
                    <a:pt x="119228" y="37630"/>
                    <a:pt x="114300" y="43543"/>
                  </a:cubicBezTo>
                  <a:cubicBezTo>
                    <a:pt x="104681" y="55086"/>
                    <a:pt x="99185" y="68329"/>
                    <a:pt x="92529" y="81643"/>
                  </a:cubicBezTo>
                  <a:cubicBezTo>
                    <a:pt x="90715" y="94343"/>
                    <a:pt x="89602" y="107163"/>
                    <a:pt x="87086" y="119743"/>
                  </a:cubicBezTo>
                  <a:cubicBezTo>
                    <a:pt x="85961" y="125369"/>
                    <a:pt x="85227" y="131591"/>
                    <a:pt x="81643" y="136071"/>
                  </a:cubicBezTo>
                  <a:cubicBezTo>
                    <a:pt x="77556" y="141179"/>
                    <a:pt x="71327" y="144380"/>
                    <a:pt x="65314" y="146957"/>
                  </a:cubicBezTo>
                  <a:cubicBezTo>
                    <a:pt x="58438" y="149904"/>
                    <a:pt x="50800" y="150586"/>
                    <a:pt x="43543" y="152400"/>
                  </a:cubicBezTo>
                  <a:lnTo>
                    <a:pt x="10886" y="174171"/>
                  </a:lnTo>
                  <a:cubicBezTo>
                    <a:pt x="6112" y="177354"/>
                    <a:pt x="8009" y="185368"/>
                    <a:pt x="5443" y="190500"/>
                  </a:cubicBezTo>
                  <a:cubicBezTo>
                    <a:pt x="4296" y="192795"/>
                    <a:pt x="1814" y="194129"/>
                    <a:pt x="0" y="195943"/>
                  </a:cubicBezTo>
                </a:path>
              </a:pathLst>
            </a:custGeom>
            <a:noFill/>
            <a:ln w="9525">
              <a:solidFill>
                <a:srgbClr val="996633"/>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grpSp>
          <p:nvGrpSpPr>
            <p:cNvPr id="148" name="Group 148"/>
            <p:cNvGrpSpPr>
              <a:grpSpLocks/>
            </p:cNvGrpSpPr>
            <p:nvPr/>
          </p:nvGrpSpPr>
          <p:grpSpPr bwMode="auto">
            <a:xfrm rot="-337203">
              <a:off x="5146675" y="4797425"/>
              <a:ext cx="1008063" cy="720725"/>
              <a:chOff x="2097" y="10577"/>
              <a:chExt cx="7838" cy="5359"/>
            </a:xfrm>
          </p:grpSpPr>
          <p:grpSp>
            <p:nvGrpSpPr>
              <p:cNvPr id="251" name="Group 149"/>
              <p:cNvGrpSpPr>
                <a:grpSpLocks/>
              </p:cNvGrpSpPr>
              <p:nvPr/>
            </p:nvGrpSpPr>
            <p:grpSpPr bwMode="auto">
              <a:xfrm>
                <a:off x="3276" y="10577"/>
                <a:ext cx="6659" cy="4719"/>
                <a:chOff x="3156" y="9815"/>
                <a:chExt cx="6659" cy="4719"/>
              </a:xfrm>
            </p:grpSpPr>
            <p:sp>
              <p:nvSpPr>
                <p:cNvPr id="343" name="Rectangle 150" descr="Diagonal dunkel nach oben"/>
                <p:cNvSpPr>
                  <a:spLocks noChangeArrowheads="1"/>
                </p:cNvSpPr>
                <p:nvPr/>
              </p:nvSpPr>
              <p:spPr bwMode="auto">
                <a:xfrm rot="3550980">
                  <a:off x="7169" y="10963"/>
                  <a:ext cx="136" cy="2496"/>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44" name="Rectangle 151" descr="Diagonal dunkel nach oben"/>
                <p:cNvSpPr>
                  <a:spLocks noChangeArrowheads="1"/>
                </p:cNvSpPr>
                <p:nvPr/>
              </p:nvSpPr>
              <p:spPr bwMode="auto">
                <a:xfrm rot="-1854097">
                  <a:off x="5516" y="11043"/>
                  <a:ext cx="136" cy="1863"/>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345" name="Group 152"/>
                <p:cNvGrpSpPr>
                  <a:grpSpLocks/>
                </p:cNvGrpSpPr>
                <p:nvPr/>
              </p:nvGrpSpPr>
              <p:grpSpPr bwMode="auto">
                <a:xfrm rot="-1394259">
                  <a:off x="5674" y="12541"/>
                  <a:ext cx="897" cy="610"/>
                  <a:chOff x="5495" y="7336"/>
                  <a:chExt cx="897" cy="610"/>
                </a:xfrm>
              </p:grpSpPr>
              <p:sp>
                <p:nvSpPr>
                  <p:cNvPr id="363" name="AutoShape 153"/>
                  <p:cNvSpPr>
                    <a:spLocks noChangeArrowheads="1"/>
                  </p:cNvSpPr>
                  <p:nvPr/>
                </p:nvSpPr>
                <p:spPr bwMode="auto">
                  <a:xfrm rot="1021809">
                    <a:off x="5495" y="7336"/>
                    <a:ext cx="278" cy="196"/>
                  </a:xfrm>
                  <a:prstGeom prst="cube">
                    <a:avLst>
                      <a:gd name="adj" fmla="val 74083"/>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64" name="Rectangle 154"/>
                  <p:cNvSpPr>
                    <a:spLocks noChangeArrowheads="1"/>
                  </p:cNvSpPr>
                  <p:nvPr/>
                </p:nvSpPr>
                <p:spPr bwMode="auto">
                  <a:xfrm rot="-4082615">
                    <a:off x="5714" y="7356"/>
                    <a:ext cx="65" cy="45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65" name="Oval 155"/>
                  <p:cNvSpPr>
                    <a:spLocks noChangeAspect="1" noChangeArrowheads="1"/>
                  </p:cNvSpPr>
                  <p:nvPr/>
                </p:nvSpPr>
                <p:spPr bwMode="auto">
                  <a:xfrm>
                    <a:off x="5709" y="7439"/>
                    <a:ext cx="461" cy="455"/>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66" name="Rectangle 156"/>
                  <p:cNvSpPr>
                    <a:spLocks noChangeArrowheads="1"/>
                  </p:cNvSpPr>
                  <p:nvPr/>
                </p:nvSpPr>
                <p:spPr bwMode="auto">
                  <a:xfrm rot="-4082615">
                    <a:off x="6077" y="7507"/>
                    <a:ext cx="65" cy="45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67" name="AutoShape 157"/>
                  <p:cNvSpPr>
                    <a:spLocks noChangeArrowheads="1"/>
                  </p:cNvSpPr>
                  <p:nvPr/>
                </p:nvSpPr>
                <p:spPr bwMode="auto">
                  <a:xfrm rot="1021809">
                    <a:off x="6114" y="7750"/>
                    <a:ext cx="278" cy="196"/>
                  </a:xfrm>
                  <a:prstGeom prst="cube">
                    <a:avLst>
                      <a:gd name="adj" fmla="val 74083"/>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346" name="Group 158"/>
                <p:cNvGrpSpPr>
                  <a:grpSpLocks/>
                </p:cNvGrpSpPr>
                <p:nvPr/>
              </p:nvGrpSpPr>
              <p:grpSpPr bwMode="auto">
                <a:xfrm>
                  <a:off x="3156" y="11749"/>
                  <a:ext cx="2085" cy="2256"/>
                  <a:chOff x="3178" y="6686"/>
                  <a:chExt cx="2085" cy="2085"/>
                </a:xfrm>
              </p:grpSpPr>
              <p:sp>
                <p:nvSpPr>
                  <p:cNvPr id="361" name="Oval 159" descr="Kleines Konfetti"/>
                  <p:cNvSpPr>
                    <a:spLocks noChangeAspect="1" noChangeArrowheads="1"/>
                  </p:cNvSpPr>
                  <p:nvPr/>
                </p:nvSpPr>
                <p:spPr bwMode="auto">
                  <a:xfrm>
                    <a:off x="3178" y="6686"/>
                    <a:ext cx="2085" cy="2085"/>
                  </a:xfrm>
                  <a:prstGeom prst="ellipse">
                    <a:avLst/>
                  </a:prstGeom>
                  <a:pattFill prst="smConfetti">
                    <a:fgClr>
                      <a:srgbClr val="000000"/>
                    </a:fgClr>
                    <a:bgClr>
                      <a:srgbClr val="FFFFFF"/>
                    </a:bgClr>
                  </a:patt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62" name="Oval 160"/>
                  <p:cNvSpPr>
                    <a:spLocks noChangeAspect="1" noChangeArrowheads="1"/>
                  </p:cNvSpPr>
                  <p:nvPr/>
                </p:nvSpPr>
                <p:spPr bwMode="auto">
                  <a:xfrm>
                    <a:off x="3309" y="6819"/>
                    <a:ext cx="1813" cy="18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347" name="Freeform 161"/>
                <p:cNvSpPr>
                  <a:spLocks/>
                </p:cNvSpPr>
                <p:nvPr/>
              </p:nvSpPr>
              <p:spPr bwMode="auto">
                <a:xfrm>
                  <a:off x="6199" y="9815"/>
                  <a:ext cx="878" cy="501"/>
                </a:xfrm>
                <a:custGeom>
                  <a:avLst/>
                  <a:gdLst>
                    <a:gd name="T0" fmla="*/ 114 w 878"/>
                    <a:gd name="T1" fmla="*/ 501 h 501"/>
                    <a:gd name="T2" fmla="*/ 0 w 878"/>
                    <a:gd name="T3" fmla="*/ 301 h 501"/>
                    <a:gd name="T4" fmla="*/ 513 w 878"/>
                    <a:gd name="T5" fmla="*/ 25 h 501"/>
                    <a:gd name="T6" fmla="*/ 878 w 878"/>
                    <a:gd name="T7" fmla="*/ 0 h 501"/>
                    <a:gd name="T8" fmla="*/ 0 60000 65536"/>
                    <a:gd name="T9" fmla="*/ 0 60000 65536"/>
                    <a:gd name="T10" fmla="*/ 0 60000 65536"/>
                    <a:gd name="T11" fmla="*/ 0 60000 65536"/>
                    <a:gd name="T12" fmla="*/ 0 w 878"/>
                    <a:gd name="T13" fmla="*/ 0 h 501"/>
                    <a:gd name="T14" fmla="*/ 878 w 878"/>
                    <a:gd name="T15" fmla="*/ 501 h 501"/>
                  </a:gdLst>
                  <a:ahLst/>
                  <a:cxnLst>
                    <a:cxn ang="T8">
                      <a:pos x="T0" y="T1"/>
                    </a:cxn>
                    <a:cxn ang="T9">
                      <a:pos x="T2" y="T3"/>
                    </a:cxn>
                    <a:cxn ang="T10">
                      <a:pos x="T4" y="T5"/>
                    </a:cxn>
                    <a:cxn ang="T11">
                      <a:pos x="T6" y="T7"/>
                    </a:cxn>
                  </a:cxnLst>
                  <a:rect l="T12" t="T13" r="T14" b="T15"/>
                  <a:pathLst>
                    <a:path w="878" h="501">
                      <a:moveTo>
                        <a:pt x="114" y="501"/>
                      </a:moveTo>
                      <a:lnTo>
                        <a:pt x="0" y="301"/>
                      </a:lnTo>
                      <a:lnTo>
                        <a:pt x="513" y="25"/>
                      </a:lnTo>
                      <a:lnTo>
                        <a:pt x="878" y="0"/>
                      </a:lnTo>
                    </a:path>
                  </a:pathLst>
                </a:custGeom>
                <a:noFill/>
                <a:ln w="76200">
                  <a:solidFill>
                    <a:srgbClr val="969696"/>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348" name="Freeform 162" descr="Diagonal hell nach unten"/>
                <p:cNvSpPr>
                  <a:spLocks noChangeAspect="1"/>
                </p:cNvSpPr>
                <p:nvPr/>
              </p:nvSpPr>
              <p:spPr bwMode="auto">
                <a:xfrm rot="544960">
                  <a:off x="4243" y="10892"/>
                  <a:ext cx="923" cy="2063"/>
                </a:xfrm>
                <a:custGeom>
                  <a:avLst/>
                  <a:gdLst>
                    <a:gd name="T0" fmla="*/ 0 w 1153"/>
                    <a:gd name="T1" fmla="*/ 56 h 2577"/>
                    <a:gd name="T2" fmla="*/ 3 w 1153"/>
                    <a:gd name="T3" fmla="*/ 58 h 2577"/>
                    <a:gd name="T4" fmla="*/ 11 w 1153"/>
                    <a:gd name="T5" fmla="*/ 46 h 2577"/>
                    <a:gd name="T6" fmla="*/ 26 w 1153"/>
                    <a:gd name="T7" fmla="*/ 2 h 2577"/>
                    <a:gd name="T8" fmla="*/ 23 w 1153"/>
                    <a:gd name="T9" fmla="*/ 0 h 2577"/>
                    <a:gd name="T10" fmla="*/ 9 w 1153"/>
                    <a:gd name="T11" fmla="*/ 45 h 2577"/>
                    <a:gd name="T12" fmla="*/ 0 w 1153"/>
                    <a:gd name="T13" fmla="*/ 56 h 2577"/>
                    <a:gd name="T14" fmla="*/ 0 60000 65536"/>
                    <a:gd name="T15" fmla="*/ 0 60000 65536"/>
                    <a:gd name="T16" fmla="*/ 0 60000 65536"/>
                    <a:gd name="T17" fmla="*/ 0 60000 65536"/>
                    <a:gd name="T18" fmla="*/ 0 60000 65536"/>
                    <a:gd name="T19" fmla="*/ 0 60000 65536"/>
                    <a:gd name="T20" fmla="*/ 0 60000 65536"/>
                    <a:gd name="T21" fmla="*/ 0 w 1153"/>
                    <a:gd name="T22" fmla="*/ 0 h 2577"/>
                    <a:gd name="T23" fmla="*/ 1153 w 1153"/>
                    <a:gd name="T24" fmla="*/ 2577 h 25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3" h="2577">
                      <a:moveTo>
                        <a:pt x="0" y="2489"/>
                      </a:moveTo>
                      <a:lnTo>
                        <a:pt x="120" y="2577"/>
                      </a:lnTo>
                      <a:lnTo>
                        <a:pt x="507" y="2036"/>
                      </a:lnTo>
                      <a:lnTo>
                        <a:pt x="1153" y="41"/>
                      </a:lnTo>
                      <a:lnTo>
                        <a:pt x="1011" y="0"/>
                      </a:lnTo>
                      <a:lnTo>
                        <a:pt x="383" y="1961"/>
                      </a:lnTo>
                      <a:lnTo>
                        <a:pt x="0" y="2489"/>
                      </a:lnTo>
                      <a:close/>
                    </a:path>
                  </a:pathLst>
                </a:custGeom>
                <a:pattFill prst="ltDnDiag">
                  <a:fgClr>
                    <a:srgbClr val="000000"/>
                  </a:fgClr>
                  <a:bgClr>
                    <a:srgbClr val="FFFFFF"/>
                  </a:bgClr>
                </a:pattFill>
                <a:ln w="9525">
                  <a:solidFill>
                    <a:srgbClr val="000000"/>
                  </a:solidFill>
                  <a:round/>
                  <a:headEnd/>
                  <a:tailEnd/>
                </a:ln>
              </p:spPr>
              <p:txBody>
                <a:bodyPr/>
                <a:lstStyle/>
                <a:p>
                  <a:endParaRPr lang="de-DE"/>
                </a:p>
              </p:txBody>
            </p:sp>
            <p:sp>
              <p:nvSpPr>
                <p:cNvPr id="349" name="Rectangle 163" descr="Diagonal dunkel nach oben"/>
                <p:cNvSpPr>
                  <a:spLocks noChangeAspect="1" noChangeArrowheads="1"/>
                </p:cNvSpPr>
                <p:nvPr/>
              </p:nvSpPr>
              <p:spPr bwMode="auto">
                <a:xfrm rot="1639471">
                  <a:off x="5001" y="10999"/>
                  <a:ext cx="174" cy="666"/>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50" name="Freeform 164"/>
                <p:cNvSpPr>
                  <a:spLocks/>
                </p:cNvSpPr>
                <p:nvPr/>
              </p:nvSpPr>
              <p:spPr bwMode="auto">
                <a:xfrm>
                  <a:off x="5269" y="9951"/>
                  <a:ext cx="1196" cy="1027"/>
                </a:xfrm>
                <a:custGeom>
                  <a:avLst/>
                  <a:gdLst>
                    <a:gd name="T0" fmla="*/ 0 w 1196"/>
                    <a:gd name="T1" fmla="*/ 1027 h 1027"/>
                    <a:gd name="T2" fmla="*/ 507 w 1196"/>
                    <a:gd name="T3" fmla="*/ 75 h 1027"/>
                    <a:gd name="T4" fmla="*/ 1196 w 1196"/>
                    <a:gd name="T5" fmla="*/ 0 h 1027"/>
                    <a:gd name="T6" fmla="*/ 0 60000 65536"/>
                    <a:gd name="T7" fmla="*/ 0 60000 65536"/>
                    <a:gd name="T8" fmla="*/ 0 60000 65536"/>
                    <a:gd name="T9" fmla="*/ 0 w 1196"/>
                    <a:gd name="T10" fmla="*/ 0 h 1027"/>
                    <a:gd name="T11" fmla="*/ 1196 w 1196"/>
                    <a:gd name="T12" fmla="*/ 1027 h 1027"/>
                  </a:gdLst>
                  <a:ahLst/>
                  <a:cxnLst>
                    <a:cxn ang="T6">
                      <a:pos x="T0" y="T1"/>
                    </a:cxn>
                    <a:cxn ang="T7">
                      <a:pos x="T2" y="T3"/>
                    </a:cxn>
                    <a:cxn ang="T8">
                      <a:pos x="T4" y="T5"/>
                    </a:cxn>
                  </a:cxnLst>
                  <a:rect l="T9" t="T10" r="T11" b="T12"/>
                  <a:pathLst>
                    <a:path w="1196" h="1027">
                      <a:moveTo>
                        <a:pt x="0" y="1027"/>
                      </a:moveTo>
                      <a:lnTo>
                        <a:pt x="507" y="75"/>
                      </a:lnTo>
                      <a:lnTo>
                        <a:pt x="1196" y="0"/>
                      </a:lnTo>
                    </a:path>
                  </a:pathLst>
                </a:custGeom>
                <a:noFill/>
                <a:ln w="57150">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351" name="AutoShape 165"/>
                <p:cNvSpPr>
                  <a:spLocks noChangeArrowheads="1"/>
                </p:cNvSpPr>
                <p:nvPr/>
              </p:nvSpPr>
              <p:spPr bwMode="auto">
                <a:xfrm rot="534147">
                  <a:off x="5161" y="10606"/>
                  <a:ext cx="226" cy="213"/>
                </a:xfrm>
                <a:prstGeom prst="parallelogram">
                  <a:avLst>
                    <a:gd name="adj" fmla="val 32396"/>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52" name="Rectangle 166" descr="Diagonal dunkel nach oben"/>
                <p:cNvSpPr>
                  <a:spLocks noChangeArrowheads="1"/>
                </p:cNvSpPr>
                <p:nvPr/>
              </p:nvSpPr>
              <p:spPr bwMode="auto">
                <a:xfrm rot="588095">
                  <a:off x="8284" y="11745"/>
                  <a:ext cx="1531" cy="125"/>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353" name="Group 167"/>
                <p:cNvGrpSpPr>
                  <a:grpSpLocks/>
                </p:cNvGrpSpPr>
                <p:nvPr/>
              </p:nvGrpSpPr>
              <p:grpSpPr bwMode="auto">
                <a:xfrm>
                  <a:off x="7315" y="12278"/>
                  <a:ext cx="2085" cy="2256"/>
                  <a:chOff x="8013" y="6763"/>
                  <a:chExt cx="2085" cy="2085"/>
                </a:xfrm>
              </p:grpSpPr>
              <p:sp>
                <p:nvSpPr>
                  <p:cNvPr id="359" name="Oval 168" descr="Kleines Konfetti"/>
                  <p:cNvSpPr>
                    <a:spLocks noChangeAspect="1" noChangeArrowheads="1"/>
                  </p:cNvSpPr>
                  <p:nvPr/>
                </p:nvSpPr>
                <p:spPr bwMode="auto">
                  <a:xfrm>
                    <a:off x="8013" y="6763"/>
                    <a:ext cx="2085" cy="2085"/>
                  </a:xfrm>
                  <a:prstGeom prst="ellipse">
                    <a:avLst/>
                  </a:prstGeom>
                  <a:pattFill prst="smConfetti">
                    <a:fgClr>
                      <a:srgbClr val="000000"/>
                    </a:fgClr>
                    <a:bgClr>
                      <a:srgbClr val="FFFFFF"/>
                    </a:bgClr>
                  </a:patt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60" name="Oval 169"/>
                  <p:cNvSpPr>
                    <a:spLocks noChangeAspect="1" noChangeArrowheads="1"/>
                  </p:cNvSpPr>
                  <p:nvPr/>
                </p:nvSpPr>
                <p:spPr bwMode="auto">
                  <a:xfrm>
                    <a:off x="8144" y="6896"/>
                    <a:ext cx="1813" cy="18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354" name="Rectangle 170" descr="Diagonal hell nach unten"/>
                <p:cNvSpPr>
                  <a:spLocks noChangeArrowheads="1"/>
                </p:cNvSpPr>
                <p:nvPr/>
              </p:nvSpPr>
              <p:spPr bwMode="auto">
                <a:xfrm>
                  <a:off x="8293" y="11695"/>
                  <a:ext cx="130" cy="1740"/>
                </a:xfrm>
                <a:prstGeom prst="rect">
                  <a:avLst/>
                </a:prstGeom>
                <a:pattFill prst="ltDn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55" name="Rectangle 171" descr="Diagonal dunkel nach oben"/>
                <p:cNvSpPr>
                  <a:spLocks noChangeAspect="1" noChangeArrowheads="1"/>
                </p:cNvSpPr>
                <p:nvPr/>
              </p:nvSpPr>
              <p:spPr bwMode="auto">
                <a:xfrm>
                  <a:off x="8261" y="11496"/>
                  <a:ext cx="175" cy="348"/>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56" name="AutoShape 172" descr="Diagonal weit nach unten"/>
                <p:cNvSpPr>
                  <a:spLocks noChangeArrowheads="1"/>
                </p:cNvSpPr>
                <p:nvPr/>
              </p:nvSpPr>
              <p:spPr bwMode="auto">
                <a:xfrm rot="1021809">
                  <a:off x="7443" y="11089"/>
                  <a:ext cx="1328" cy="463"/>
                </a:xfrm>
                <a:prstGeom prst="cube">
                  <a:avLst>
                    <a:gd name="adj" fmla="val 74083"/>
                  </a:avLst>
                </a:prstGeom>
                <a:pattFill prst="wdDn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57" name="AutoShape 173" descr="Diagonal weit nach unten"/>
                <p:cNvSpPr>
                  <a:spLocks noChangeArrowheads="1"/>
                </p:cNvSpPr>
                <p:nvPr/>
              </p:nvSpPr>
              <p:spPr bwMode="auto">
                <a:xfrm rot="1023560">
                  <a:off x="8507" y="10114"/>
                  <a:ext cx="577" cy="1628"/>
                </a:xfrm>
                <a:prstGeom prst="cube">
                  <a:avLst>
                    <a:gd name="adj" fmla="val 74083"/>
                  </a:avLst>
                </a:prstGeom>
                <a:pattFill prst="wdDn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58" name="AutoShape 174"/>
                <p:cNvSpPr>
                  <a:spLocks noChangeArrowheads="1"/>
                </p:cNvSpPr>
                <p:nvPr/>
              </p:nvSpPr>
              <p:spPr bwMode="auto">
                <a:xfrm rot="1023560">
                  <a:off x="8297" y="10468"/>
                  <a:ext cx="467" cy="1283"/>
                </a:xfrm>
                <a:prstGeom prst="cube">
                  <a:avLst>
                    <a:gd name="adj" fmla="val 74083"/>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52" name="Group 175"/>
              <p:cNvGrpSpPr>
                <a:grpSpLocks/>
              </p:cNvGrpSpPr>
              <p:nvPr/>
            </p:nvGrpSpPr>
            <p:grpSpPr bwMode="auto">
              <a:xfrm rot="1562455">
                <a:off x="9266" y="12531"/>
                <a:ext cx="483" cy="672"/>
                <a:chOff x="10349" y="10816"/>
                <a:chExt cx="483" cy="672"/>
              </a:xfrm>
            </p:grpSpPr>
            <p:sp>
              <p:nvSpPr>
                <p:cNvPr id="340" name="Rectangle 176"/>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41" name="Rectangle 177"/>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42" name="Oval 178"/>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53" name="Group 179"/>
              <p:cNvGrpSpPr>
                <a:grpSpLocks/>
              </p:cNvGrpSpPr>
              <p:nvPr/>
            </p:nvGrpSpPr>
            <p:grpSpPr bwMode="auto">
              <a:xfrm rot="1562455">
                <a:off x="4897" y="12118"/>
                <a:ext cx="483" cy="672"/>
                <a:chOff x="10349" y="10816"/>
                <a:chExt cx="483" cy="672"/>
              </a:xfrm>
            </p:grpSpPr>
            <p:sp>
              <p:nvSpPr>
                <p:cNvPr id="337" name="Rectangle 180"/>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38" name="Rectangle 181"/>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39" name="Oval 182"/>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54" name="Group 183"/>
              <p:cNvGrpSpPr>
                <a:grpSpLocks/>
              </p:cNvGrpSpPr>
              <p:nvPr/>
            </p:nvGrpSpPr>
            <p:grpSpPr bwMode="auto">
              <a:xfrm>
                <a:off x="3613" y="13482"/>
                <a:ext cx="753" cy="418"/>
                <a:chOff x="3193" y="12182"/>
                <a:chExt cx="753" cy="418"/>
              </a:xfrm>
            </p:grpSpPr>
            <p:sp>
              <p:nvSpPr>
                <p:cNvPr id="333" name="Oval 184"/>
                <p:cNvSpPr>
                  <a:spLocks noChangeAspect="1" noChangeArrowheads="1"/>
                </p:cNvSpPr>
                <p:nvPr/>
              </p:nvSpPr>
              <p:spPr bwMode="auto">
                <a:xfrm>
                  <a:off x="3831" y="12182"/>
                  <a:ext cx="115" cy="114"/>
                </a:xfrm>
                <a:prstGeom prst="ellipse">
                  <a:avLst/>
                </a:pr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334" name="Group 185"/>
                <p:cNvGrpSpPr>
                  <a:grpSpLocks/>
                </p:cNvGrpSpPr>
                <p:nvPr/>
              </p:nvGrpSpPr>
              <p:grpSpPr bwMode="auto">
                <a:xfrm>
                  <a:off x="3193" y="12356"/>
                  <a:ext cx="690" cy="244"/>
                  <a:chOff x="1929" y="10929"/>
                  <a:chExt cx="690" cy="244"/>
                </a:xfrm>
              </p:grpSpPr>
              <p:sp>
                <p:nvSpPr>
                  <p:cNvPr id="335" name="Rectangle 186"/>
                  <p:cNvSpPr>
                    <a:spLocks noChangeArrowheads="1"/>
                  </p:cNvSpPr>
                  <p:nvPr/>
                </p:nvSpPr>
                <p:spPr bwMode="auto">
                  <a:xfrm rot="3679180">
                    <a:off x="2264" y="10660"/>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36" name="Oval 187"/>
                  <p:cNvSpPr>
                    <a:spLocks noChangeArrowheads="1"/>
                  </p:cNvSpPr>
                  <p:nvPr/>
                </p:nvSpPr>
                <p:spPr bwMode="auto">
                  <a:xfrm rot="9071082">
                    <a:off x="1929" y="11060"/>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grpSp>
            <p:nvGrpSpPr>
              <p:cNvPr id="255" name="Group 188"/>
              <p:cNvGrpSpPr>
                <a:grpSpLocks/>
              </p:cNvGrpSpPr>
              <p:nvPr/>
            </p:nvGrpSpPr>
            <p:grpSpPr bwMode="auto">
              <a:xfrm rot="1562455">
                <a:off x="7927" y="13947"/>
                <a:ext cx="483" cy="672"/>
                <a:chOff x="10349" y="10816"/>
                <a:chExt cx="483" cy="672"/>
              </a:xfrm>
            </p:grpSpPr>
            <p:sp>
              <p:nvSpPr>
                <p:cNvPr id="330" name="Rectangle 189"/>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31" name="Rectangle 190"/>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32" name="Oval 191"/>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56" name="Group 192"/>
              <p:cNvGrpSpPr>
                <a:grpSpLocks/>
              </p:cNvGrpSpPr>
              <p:nvPr/>
            </p:nvGrpSpPr>
            <p:grpSpPr bwMode="auto">
              <a:xfrm rot="1562455">
                <a:off x="7668" y="12305"/>
                <a:ext cx="483" cy="672"/>
                <a:chOff x="10349" y="10816"/>
                <a:chExt cx="483" cy="672"/>
              </a:xfrm>
            </p:grpSpPr>
            <p:sp>
              <p:nvSpPr>
                <p:cNvPr id="327" name="Rectangle 193"/>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8" name="Rectangle 194"/>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9" name="Oval 195"/>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57" name="Group 196"/>
              <p:cNvGrpSpPr>
                <a:grpSpLocks/>
              </p:cNvGrpSpPr>
              <p:nvPr/>
            </p:nvGrpSpPr>
            <p:grpSpPr bwMode="auto">
              <a:xfrm rot="1562455" flipH="1" flipV="1">
                <a:off x="8728" y="12780"/>
                <a:ext cx="483" cy="672"/>
                <a:chOff x="10349" y="10816"/>
                <a:chExt cx="483" cy="672"/>
              </a:xfrm>
            </p:grpSpPr>
            <p:sp>
              <p:nvSpPr>
                <p:cNvPr id="324" name="Rectangle 197"/>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5" name="Rectangle 198"/>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6" name="Oval 199"/>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58" name="Group 200"/>
              <p:cNvGrpSpPr>
                <a:grpSpLocks/>
              </p:cNvGrpSpPr>
              <p:nvPr/>
            </p:nvGrpSpPr>
            <p:grpSpPr bwMode="auto">
              <a:xfrm rot="1562455" flipH="1" flipV="1">
                <a:off x="4359" y="12367"/>
                <a:ext cx="483" cy="672"/>
                <a:chOff x="10349" y="10816"/>
                <a:chExt cx="483" cy="672"/>
              </a:xfrm>
            </p:grpSpPr>
            <p:sp>
              <p:nvSpPr>
                <p:cNvPr id="321" name="Rectangle 201"/>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2" name="Rectangle 202"/>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3" name="Oval 203"/>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59" name="Group 204"/>
              <p:cNvGrpSpPr>
                <a:grpSpLocks/>
              </p:cNvGrpSpPr>
              <p:nvPr/>
            </p:nvGrpSpPr>
            <p:grpSpPr bwMode="auto">
              <a:xfrm flipH="1" flipV="1">
                <a:off x="3075" y="13783"/>
                <a:ext cx="753" cy="418"/>
                <a:chOff x="3193" y="12182"/>
                <a:chExt cx="753" cy="418"/>
              </a:xfrm>
            </p:grpSpPr>
            <p:sp>
              <p:nvSpPr>
                <p:cNvPr id="317" name="Oval 205"/>
                <p:cNvSpPr>
                  <a:spLocks noChangeAspect="1" noChangeArrowheads="1"/>
                </p:cNvSpPr>
                <p:nvPr/>
              </p:nvSpPr>
              <p:spPr bwMode="auto">
                <a:xfrm>
                  <a:off x="3831" y="12182"/>
                  <a:ext cx="115" cy="114"/>
                </a:xfrm>
                <a:prstGeom prst="ellipse">
                  <a:avLst/>
                </a:pr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318" name="Group 206"/>
                <p:cNvGrpSpPr>
                  <a:grpSpLocks/>
                </p:cNvGrpSpPr>
                <p:nvPr/>
              </p:nvGrpSpPr>
              <p:grpSpPr bwMode="auto">
                <a:xfrm>
                  <a:off x="3193" y="12356"/>
                  <a:ext cx="690" cy="244"/>
                  <a:chOff x="1929" y="10929"/>
                  <a:chExt cx="690" cy="244"/>
                </a:xfrm>
              </p:grpSpPr>
              <p:sp>
                <p:nvSpPr>
                  <p:cNvPr id="319" name="Rectangle 207"/>
                  <p:cNvSpPr>
                    <a:spLocks noChangeArrowheads="1"/>
                  </p:cNvSpPr>
                  <p:nvPr/>
                </p:nvSpPr>
                <p:spPr bwMode="auto">
                  <a:xfrm rot="3679180">
                    <a:off x="2264" y="10660"/>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20" name="Oval 208"/>
                  <p:cNvSpPr>
                    <a:spLocks noChangeArrowheads="1"/>
                  </p:cNvSpPr>
                  <p:nvPr/>
                </p:nvSpPr>
                <p:spPr bwMode="auto">
                  <a:xfrm rot="9071082">
                    <a:off x="1929" y="11060"/>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grpSp>
            <p:nvGrpSpPr>
              <p:cNvPr id="260" name="Group 209"/>
              <p:cNvGrpSpPr>
                <a:grpSpLocks/>
              </p:cNvGrpSpPr>
              <p:nvPr/>
            </p:nvGrpSpPr>
            <p:grpSpPr bwMode="auto">
              <a:xfrm rot="1562455" flipH="1" flipV="1">
                <a:off x="7389" y="14196"/>
                <a:ext cx="483" cy="672"/>
                <a:chOff x="10349" y="10816"/>
                <a:chExt cx="483" cy="672"/>
              </a:xfrm>
            </p:grpSpPr>
            <p:sp>
              <p:nvSpPr>
                <p:cNvPr id="314" name="Rectangle 210"/>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15" name="Rectangle 211"/>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16" name="Oval 212"/>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61" name="Group 213"/>
              <p:cNvGrpSpPr>
                <a:grpSpLocks/>
              </p:cNvGrpSpPr>
              <p:nvPr/>
            </p:nvGrpSpPr>
            <p:grpSpPr bwMode="auto">
              <a:xfrm rot="1562455" flipH="1" flipV="1">
                <a:off x="7130" y="12554"/>
                <a:ext cx="483" cy="672"/>
                <a:chOff x="10349" y="10816"/>
                <a:chExt cx="483" cy="672"/>
              </a:xfrm>
            </p:grpSpPr>
            <p:sp>
              <p:nvSpPr>
                <p:cNvPr id="311" name="Rectangle 214"/>
                <p:cNvSpPr>
                  <a:spLocks noChangeArrowheads="1"/>
                </p:cNvSpPr>
                <p:nvPr/>
              </p:nvSpPr>
              <p:spPr bwMode="auto">
                <a:xfrm rot="2116725">
                  <a:off x="10545" y="10821"/>
                  <a:ext cx="85" cy="62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12" name="Rectangle 215"/>
                <p:cNvSpPr>
                  <a:spLocks noChangeArrowheads="1"/>
                </p:cNvSpPr>
                <p:nvPr/>
              </p:nvSpPr>
              <p:spPr bwMode="auto">
                <a:xfrm rot="2116725">
                  <a:off x="10719" y="10816"/>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13" name="Oval 216"/>
                <p:cNvSpPr>
                  <a:spLocks noChangeArrowheads="1"/>
                </p:cNvSpPr>
                <p:nvPr/>
              </p:nvSpPr>
              <p:spPr bwMode="auto">
                <a:xfrm rot="7508627">
                  <a:off x="10301" y="11326"/>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62" name="Group 217"/>
              <p:cNvGrpSpPr>
                <a:grpSpLocks/>
              </p:cNvGrpSpPr>
              <p:nvPr/>
            </p:nvGrpSpPr>
            <p:grpSpPr bwMode="auto">
              <a:xfrm>
                <a:off x="2097" y="11217"/>
                <a:ext cx="6659" cy="4719"/>
                <a:chOff x="2097" y="11217"/>
                <a:chExt cx="6659" cy="4719"/>
              </a:xfrm>
            </p:grpSpPr>
            <p:grpSp>
              <p:nvGrpSpPr>
                <p:cNvPr id="263" name="Group 218"/>
                <p:cNvGrpSpPr>
                  <a:grpSpLocks/>
                </p:cNvGrpSpPr>
                <p:nvPr/>
              </p:nvGrpSpPr>
              <p:grpSpPr bwMode="auto">
                <a:xfrm>
                  <a:off x="4155" y="12445"/>
                  <a:ext cx="3271" cy="2108"/>
                  <a:chOff x="3735" y="11145"/>
                  <a:chExt cx="3271" cy="2108"/>
                </a:xfrm>
              </p:grpSpPr>
              <p:sp>
                <p:nvSpPr>
                  <p:cNvPr id="295" name="Rectangle 219" descr="Diagonal dunkel nach oben"/>
                  <p:cNvSpPr>
                    <a:spLocks noChangeArrowheads="1"/>
                  </p:cNvSpPr>
                  <p:nvPr/>
                </p:nvSpPr>
                <p:spPr bwMode="auto">
                  <a:xfrm rot="3550980">
                    <a:off x="5690" y="11065"/>
                    <a:ext cx="136" cy="2496"/>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96" name="Rectangle 220" descr="Diagonal dunkel nach oben"/>
                  <p:cNvSpPr>
                    <a:spLocks noChangeArrowheads="1"/>
                  </p:cNvSpPr>
                  <p:nvPr/>
                </p:nvSpPr>
                <p:spPr bwMode="auto">
                  <a:xfrm rot="-1854097">
                    <a:off x="4037" y="11145"/>
                    <a:ext cx="136" cy="1863"/>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297" name="Group 221"/>
                  <p:cNvGrpSpPr>
                    <a:grpSpLocks/>
                  </p:cNvGrpSpPr>
                  <p:nvPr/>
                </p:nvGrpSpPr>
                <p:grpSpPr bwMode="auto">
                  <a:xfrm rot="-1394259">
                    <a:off x="4195" y="12643"/>
                    <a:ext cx="897" cy="610"/>
                    <a:chOff x="5495" y="7336"/>
                    <a:chExt cx="897" cy="610"/>
                  </a:xfrm>
                </p:grpSpPr>
                <p:sp>
                  <p:nvSpPr>
                    <p:cNvPr id="306" name="AutoShape 222"/>
                    <p:cNvSpPr>
                      <a:spLocks noChangeArrowheads="1"/>
                    </p:cNvSpPr>
                    <p:nvPr/>
                  </p:nvSpPr>
                  <p:spPr bwMode="auto">
                    <a:xfrm rot="1021809">
                      <a:off x="5495" y="7336"/>
                      <a:ext cx="278" cy="196"/>
                    </a:xfrm>
                    <a:prstGeom prst="cube">
                      <a:avLst>
                        <a:gd name="adj" fmla="val 74083"/>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07" name="Rectangle 223"/>
                    <p:cNvSpPr>
                      <a:spLocks noChangeArrowheads="1"/>
                    </p:cNvSpPr>
                    <p:nvPr/>
                  </p:nvSpPr>
                  <p:spPr bwMode="auto">
                    <a:xfrm rot="-4082615">
                      <a:off x="5714" y="7356"/>
                      <a:ext cx="65" cy="45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08" name="Oval 224"/>
                    <p:cNvSpPr>
                      <a:spLocks noChangeAspect="1" noChangeArrowheads="1"/>
                    </p:cNvSpPr>
                    <p:nvPr/>
                  </p:nvSpPr>
                  <p:spPr bwMode="auto">
                    <a:xfrm>
                      <a:off x="5709" y="7439"/>
                      <a:ext cx="461" cy="455"/>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09" name="Rectangle 225"/>
                    <p:cNvSpPr>
                      <a:spLocks noChangeArrowheads="1"/>
                    </p:cNvSpPr>
                    <p:nvPr/>
                  </p:nvSpPr>
                  <p:spPr bwMode="auto">
                    <a:xfrm rot="-4082615">
                      <a:off x="6077" y="7507"/>
                      <a:ext cx="65" cy="454"/>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10" name="AutoShape 226"/>
                    <p:cNvSpPr>
                      <a:spLocks noChangeArrowheads="1"/>
                    </p:cNvSpPr>
                    <p:nvPr/>
                  </p:nvSpPr>
                  <p:spPr bwMode="auto">
                    <a:xfrm rot="1021809">
                      <a:off x="6114" y="7750"/>
                      <a:ext cx="278" cy="196"/>
                    </a:xfrm>
                    <a:prstGeom prst="cube">
                      <a:avLst>
                        <a:gd name="adj" fmla="val 74083"/>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98" name="Group 227"/>
                  <p:cNvGrpSpPr>
                    <a:grpSpLocks/>
                  </p:cNvGrpSpPr>
                  <p:nvPr/>
                </p:nvGrpSpPr>
                <p:grpSpPr bwMode="auto">
                  <a:xfrm>
                    <a:off x="3735" y="11494"/>
                    <a:ext cx="626" cy="1034"/>
                    <a:chOff x="5022" y="6148"/>
                    <a:chExt cx="626" cy="1034"/>
                  </a:xfrm>
                </p:grpSpPr>
                <p:sp>
                  <p:nvSpPr>
                    <p:cNvPr id="303" name="Rectangle 228"/>
                    <p:cNvSpPr>
                      <a:spLocks noChangeArrowheads="1"/>
                    </p:cNvSpPr>
                    <p:nvPr/>
                  </p:nvSpPr>
                  <p:spPr bwMode="auto">
                    <a:xfrm rot="-1854097">
                      <a:off x="5313" y="6161"/>
                      <a:ext cx="85" cy="1020"/>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04" name="Rectangle 229"/>
                    <p:cNvSpPr>
                      <a:spLocks noChangeArrowheads="1"/>
                    </p:cNvSpPr>
                    <p:nvPr/>
                  </p:nvSpPr>
                  <p:spPr bwMode="auto">
                    <a:xfrm rot="-1854097">
                      <a:off x="5022" y="6148"/>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05" name="Oval 230"/>
                    <p:cNvSpPr>
                      <a:spLocks noChangeArrowheads="1"/>
                    </p:cNvSpPr>
                    <p:nvPr/>
                  </p:nvSpPr>
                  <p:spPr bwMode="auto">
                    <a:xfrm rot="3537805">
                      <a:off x="5487" y="7020"/>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99" name="Group 231"/>
                  <p:cNvGrpSpPr>
                    <a:grpSpLocks/>
                  </p:cNvGrpSpPr>
                  <p:nvPr/>
                </p:nvGrpSpPr>
                <p:grpSpPr bwMode="auto">
                  <a:xfrm rot="5400000">
                    <a:off x="5838" y="11543"/>
                    <a:ext cx="626" cy="1034"/>
                    <a:chOff x="5022" y="6148"/>
                    <a:chExt cx="626" cy="1034"/>
                  </a:xfrm>
                </p:grpSpPr>
                <p:sp>
                  <p:nvSpPr>
                    <p:cNvPr id="300" name="Rectangle 232"/>
                    <p:cNvSpPr>
                      <a:spLocks noChangeArrowheads="1"/>
                    </p:cNvSpPr>
                    <p:nvPr/>
                  </p:nvSpPr>
                  <p:spPr bwMode="auto">
                    <a:xfrm rot="-1854097">
                      <a:off x="5313" y="6161"/>
                      <a:ext cx="85" cy="1020"/>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01" name="Rectangle 233"/>
                    <p:cNvSpPr>
                      <a:spLocks noChangeArrowheads="1"/>
                    </p:cNvSpPr>
                    <p:nvPr/>
                  </p:nvSpPr>
                  <p:spPr bwMode="auto">
                    <a:xfrm rot="-1854097">
                      <a:off x="5022" y="6148"/>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302" name="Oval 234"/>
                    <p:cNvSpPr>
                      <a:spLocks noChangeArrowheads="1"/>
                    </p:cNvSpPr>
                    <p:nvPr/>
                  </p:nvSpPr>
                  <p:spPr bwMode="auto">
                    <a:xfrm rot="3537805">
                      <a:off x="5487" y="7020"/>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grpSp>
              <p:nvGrpSpPr>
                <p:cNvPr id="264" name="Group 235"/>
                <p:cNvGrpSpPr>
                  <a:grpSpLocks/>
                </p:cNvGrpSpPr>
                <p:nvPr/>
              </p:nvGrpSpPr>
              <p:grpSpPr bwMode="auto">
                <a:xfrm>
                  <a:off x="2097" y="11217"/>
                  <a:ext cx="3921" cy="4190"/>
                  <a:chOff x="2977" y="4610"/>
                  <a:chExt cx="3921" cy="4190"/>
                </a:xfrm>
              </p:grpSpPr>
              <p:grpSp>
                <p:nvGrpSpPr>
                  <p:cNvPr id="283" name="Group 236"/>
                  <p:cNvGrpSpPr>
                    <a:grpSpLocks/>
                  </p:cNvGrpSpPr>
                  <p:nvPr/>
                </p:nvGrpSpPr>
                <p:grpSpPr bwMode="auto">
                  <a:xfrm>
                    <a:off x="2977" y="6544"/>
                    <a:ext cx="2085" cy="2256"/>
                    <a:chOff x="3178" y="6686"/>
                    <a:chExt cx="2085" cy="2085"/>
                  </a:xfrm>
                </p:grpSpPr>
                <p:sp>
                  <p:nvSpPr>
                    <p:cNvPr id="293" name="Oval 237" descr="Kleines Konfetti"/>
                    <p:cNvSpPr>
                      <a:spLocks noChangeAspect="1" noChangeArrowheads="1"/>
                    </p:cNvSpPr>
                    <p:nvPr/>
                  </p:nvSpPr>
                  <p:spPr bwMode="auto">
                    <a:xfrm>
                      <a:off x="3178" y="6686"/>
                      <a:ext cx="2085" cy="2085"/>
                    </a:xfrm>
                    <a:prstGeom prst="ellipse">
                      <a:avLst/>
                    </a:prstGeom>
                    <a:pattFill prst="smConfetti">
                      <a:fgClr>
                        <a:srgbClr val="000000"/>
                      </a:fgClr>
                      <a:bgClr>
                        <a:srgbClr val="FFFFFF"/>
                      </a:bgClr>
                    </a:patt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94" name="Oval 238"/>
                    <p:cNvSpPr>
                      <a:spLocks noChangeAspect="1" noChangeArrowheads="1"/>
                    </p:cNvSpPr>
                    <p:nvPr/>
                  </p:nvSpPr>
                  <p:spPr bwMode="auto">
                    <a:xfrm>
                      <a:off x="3309" y="6819"/>
                      <a:ext cx="1813" cy="18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284" name="Freeform 239"/>
                  <p:cNvSpPr>
                    <a:spLocks/>
                  </p:cNvSpPr>
                  <p:nvPr/>
                </p:nvSpPr>
                <p:spPr bwMode="auto">
                  <a:xfrm>
                    <a:off x="6020" y="4610"/>
                    <a:ext cx="878" cy="501"/>
                  </a:xfrm>
                  <a:custGeom>
                    <a:avLst/>
                    <a:gdLst>
                      <a:gd name="T0" fmla="*/ 114 w 878"/>
                      <a:gd name="T1" fmla="*/ 501 h 501"/>
                      <a:gd name="T2" fmla="*/ 0 w 878"/>
                      <a:gd name="T3" fmla="*/ 301 h 501"/>
                      <a:gd name="T4" fmla="*/ 513 w 878"/>
                      <a:gd name="T5" fmla="*/ 25 h 501"/>
                      <a:gd name="T6" fmla="*/ 878 w 878"/>
                      <a:gd name="T7" fmla="*/ 0 h 501"/>
                      <a:gd name="T8" fmla="*/ 0 60000 65536"/>
                      <a:gd name="T9" fmla="*/ 0 60000 65536"/>
                      <a:gd name="T10" fmla="*/ 0 60000 65536"/>
                      <a:gd name="T11" fmla="*/ 0 60000 65536"/>
                      <a:gd name="T12" fmla="*/ 0 w 878"/>
                      <a:gd name="T13" fmla="*/ 0 h 501"/>
                      <a:gd name="T14" fmla="*/ 878 w 878"/>
                      <a:gd name="T15" fmla="*/ 501 h 501"/>
                    </a:gdLst>
                    <a:ahLst/>
                    <a:cxnLst>
                      <a:cxn ang="T8">
                        <a:pos x="T0" y="T1"/>
                      </a:cxn>
                      <a:cxn ang="T9">
                        <a:pos x="T2" y="T3"/>
                      </a:cxn>
                      <a:cxn ang="T10">
                        <a:pos x="T4" y="T5"/>
                      </a:cxn>
                      <a:cxn ang="T11">
                        <a:pos x="T6" y="T7"/>
                      </a:cxn>
                    </a:cxnLst>
                    <a:rect l="T12" t="T13" r="T14" b="T15"/>
                    <a:pathLst>
                      <a:path w="878" h="501">
                        <a:moveTo>
                          <a:pt x="114" y="501"/>
                        </a:moveTo>
                        <a:lnTo>
                          <a:pt x="0" y="301"/>
                        </a:lnTo>
                        <a:lnTo>
                          <a:pt x="513" y="25"/>
                        </a:lnTo>
                        <a:lnTo>
                          <a:pt x="878" y="0"/>
                        </a:lnTo>
                      </a:path>
                    </a:pathLst>
                  </a:custGeom>
                  <a:noFill/>
                  <a:ln w="76200">
                    <a:solidFill>
                      <a:srgbClr val="969696"/>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85" name="Freeform 240" descr="Diagonal hell nach unten"/>
                  <p:cNvSpPr>
                    <a:spLocks noChangeAspect="1"/>
                  </p:cNvSpPr>
                  <p:nvPr/>
                </p:nvSpPr>
                <p:spPr bwMode="auto">
                  <a:xfrm rot="544960">
                    <a:off x="4064" y="5687"/>
                    <a:ext cx="923" cy="2063"/>
                  </a:xfrm>
                  <a:custGeom>
                    <a:avLst/>
                    <a:gdLst>
                      <a:gd name="T0" fmla="*/ 0 w 1153"/>
                      <a:gd name="T1" fmla="*/ 56 h 2577"/>
                      <a:gd name="T2" fmla="*/ 3 w 1153"/>
                      <a:gd name="T3" fmla="*/ 58 h 2577"/>
                      <a:gd name="T4" fmla="*/ 11 w 1153"/>
                      <a:gd name="T5" fmla="*/ 46 h 2577"/>
                      <a:gd name="T6" fmla="*/ 26 w 1153"/>
                      <a:gd name="T7" fmla="*/ 2 h 2577"/>
                      <a:gd name="T8" fmla="*/ 23 w 1153"/>
                      <a:gd name="T9" fmla="*/ 0 h 2577"/>
                      <a:gd name="T10" fmla="*/ 9 w 1153"/>
                      <a:gd name="T11" fmla="*/ 45 h 2577"/>
                      <a:gd name="T12" fmla="*/ 0 w 1153"/>
                      <a:gd name="T13" fmla="*/ 56 h 2577"/>
                      <a:gd name="T14" fmla="*/ 0 60000 65536"/>
                      <a:gd name="T15" fmla="*/ 0 60000 65536"/>
                      <a:gd name="T16" fmla="*/ 0 60000 65536"/>
                      <a:gd name="T17" fmla="*/ 0 60000 65536"/>
                      <a:gd name="T18" fmla="*/ 0 60000 65536"/>
                      <a:gd name="T19" fmla="*/ 0 60000 65536"/>
                      <a:gd name="T20" fmla="*/ 0 60000 65536"/>
                      <a:gd name="T21" fmla="*/ 0 w 1153"/>
                      <a:gd name="T22" fmla="*/ 0 h 2577"/>
                      <a:gd name="T23" fmla="*/ 1153 w 1153"/>
                      <a:gd name="T24" fmla="*/ 2577 h 25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3" h="2577">
                        <a:moveTo>
                          <a:pt x="0" y="2489"/>
                        </a:moveTo>
                        <a:lnTo>
                          <a:pt x="120" y="2577"/>
                        </a:lnTo>
                        <a:lnTo>
                          <a:pt x="507" y="2036"/>
                        </a:lnTo>
                        <a:lnTo>
                          <a:pt x="1153" y="41"/>
                        </a:lnTo>
                        <a:lnTo>
                          <a:pt x="1011" y="0"/>
                        </a:lnTo>
                        <a:lnTo>
                          <a:pt x="383" y="1961"/>
                        </a:lnTo>
                        <a:lnTo>
                          <a:pt x="0" y="2489"/>
                        </a:lnTo>
                        <a:close/>
                      </a:path>
                    </a:pathLst>
                  </a:custGeom>
                  <a:pattFill prst="ltDnDiag">
                    <a:fgClr>
                      <a:srgbClr val="000000"/>
                    </a:fgClr>
                    <a:bgClr>
                      <a:srgbClr val="FFFFFF"/>
                    </a:bgClr>
                  </a:pattFill>
                  <a:ln w="9525">
                    <a:solidFill>
                      <a:srgbClr val="000000"/>
                    </a:solidFill>
                    <a:round/>
                    <a:headEnd/>
                    <a:tailEnd/>
                  </a:ln>
                </p:spPr>
                <p:txBody>
                  <a:bodyPr/>
                  <a:lstStyle/>
                  <a:p>
                    <a:endParaRPr lang="de-DE"/>
                  </a:p>
                </p:txBody>
              </p:sp>
              <p:sp>
                <p:nvSpPr>
                  <p:cNvPr id="286" name="Rectangle 241" descr="Diagonal dunkel nach oben"/>
                  <p:cNvSpPr>
                    <a:spLocks noChangeAspect="1" noChangeArrowheads="1"/>
                  </p:cNvSpPr>
                  <p:nvPr/>
                </p:nvSpPr>
                <p:spPr bwMode="auto">
                  <a:xfrm rot="1639471">
                    <a:off x="4822" y="5794"/>
                    <a:ext cx="174" cy="666"/>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87" name="Freeform 242"/>
                  <p:cNvSpPr>
                    <a:spLocks/>
                  </p:cNvSpPr>
                  <p:nvPr/>
                </p:nvSpPr>
                <p:spPr bwMode="auto">
                  <a:xfrm>
                    <a:off x="5090" y="4746"/>
                    <a:ext cx="1196" cy="1027"/>
                  </a:xfrm>
                  <a:custGeom>
                    <a:avLst/>
                    <a:gdLst>
                      <a:gd name="T0" fmla="*/ 0 w 1196"/>
                      <a:gd name="T1" fmla="*/ 1027 h 1027"/>
                      <a:gd name="T2" fmla="*/ 507 w 1196"/>
                      <a:gd name="T3" fmla="*/ 75 h 1027"/>
                      <a:gd name="T4" fmla="*/ 1196 w 1196"/>
                      <a:gd name="T5" fmla="*/ 0 h 1027"/>
                      <a:gd name="T6" fmla="*/ 0 60000 65536"/>
                      <a:gd name="T7" fmla="*/ 0 60000 65536"/>
                      <a:gd name="T8" fmla="*/ 0 60000 65536"/>
                      <a:gd name="T9" fmla="*/ 0 w 1196"/>
                      <a:gd name="T10" fmla="*/ 0 h 1027"/>
                      <a:gd name="T11" fmla="*/ 1196 w 1196"/>
                      <a:gd name="T12" fmla="*/ 1027 h 1027"/>
                    </a:gdLst>
                    <a:ahLst/>
                    <a:cxnLst>
                      <a:cxn ang="T6">
                        <a:pos x="T0" y="T1"/>
                      </a:cxn>
                      <a:cxn ang="T7">
                        <a:pos x="T2" y="T3"/>
                      </a:cxn>
                      <a:cxn ang="T8">
                        <a:pos x="T4" y="T5"/>
                      </a:cxn>
                    </a:cxnLst>
                    <a:rect l="T9" t="T10" r="T11" b="T12"/>
                    <a:pathLst>
                      <a:path w="1196" h="1027">
                        <a:moveTo>
                          <a:pt x="0" y="1027"/>
                        </a:moveTo>
                        <a:lnTo>
                          <a:pt x="507" y="75"/>
                        </a:lnTo>
                        <a:lnTo>
                          <a:pt x="1196" y="0"/>
                        </a:lnTo>
                      </a:path>
                    </a:pathLst>
                  </a:custGeom>
                  <a:noFill/>
                  <a:ln w="57150">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nvGrpSpPr>
                  <p:cNvPr id="288" name="Group 243"/>
                  <p:cNvGrpSpPr>
                    <a:grpSpLocks/>
                  </p:cNvGrpSpPr>
                  <p:nvPr/>
                </p:nvGrpSpPr>
                <p:grpSpPr bwMode="auto">
                  <a:xfrm>
                    <a:off x="3952" y="6640"/>
                    <a:ext cx="679" cy="1020"/>
                    <a:chOff x="3978" y="6588"/>
                    <a:chExt cx="679" cy="1020"/>
                  </a:xfrm>
                </p:grpSpPr>
                <p:sp>
                  <p:nvSpPr>
                    <p:cNvPr id="290" name="Rectangle 244"/>
                    <p:cNvSpPr>
                      <a:spLocks noChangeArrowheads="1"/>
                    </p:cNvSpPr>
                    <p:nvPr/>
                  </p:nvSpPr>
                  <p:spPr bwMode="auto">
                    <a:xfrm rot="-8754858">
                      <a:off x="4290" y="6588"/>
                      <a:ext cx="85" cy="1020"/>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91" name="Oval 245"/>
                    <p:cNvSpPr>
                      <a:spLocks noChangeArrowheads="1"/>
                    </p:cNvSpPr>
                    <p:nvPr/>
                  </p:nvSpPr>
                  <p:spPr bwMode="auto">
                    <a:xfrm rot="-3362955">
                      <a:off x="4496" y="6655"/>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92" name="Oval 246"/>
                    <p:cNvSpPr>
                      <a:spLocks noChangeAspect="1" noChangeArrowheads="1"/>
                    </p:cNvSpPr>
                    <p:nvPr/>
                  </p:nvSpPr>
                  <p:spPr bwMode="auto">
                    <a:xfrm>
                      <a:off x="3978" y="7463"/>
                      <a:ext cx="115" cy="114"/>
                    </a:xfrm>
                    <a:prstGeom prst="ellipse">
                      <a:avLst/>
                    </a:pr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289" name="AutoShape 247"/>
                  <p:cNvSpPr>
                    <a:spLocks noChangeArrowheads="1"/>
                  </p:cNvSpPr>
                  <p:nvPr/>
                </p:nvSpPr>
                <p:spPr bwMode="auto">
                  <a:xfrm rot="534147">
                    <a:off x="4982" y="5401"/>
                    <a:ext cx="226" cy="213"/>
                  </a:xfrm>
                  <a:prstGeom prst="parallelogram">
                    <a:avLst>
                      <a:gd name="adj" fmla="val 32396"/>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65" name="Group 248"/>
                <p:cNvGrpSpPr>
                  <a:grpSpLocks/>
                </p:cNvGrpSpPr>
                <p:nvPr/>
              </p:nvGrpSpPr>
              <p:grpSpPr bwMode="auto">
                <a:xfrm>
                  <a:off x="6256" y="11454"/>
                  <a:ext cx="2500" cy="4482"/>
                  <a:chOff x="6136" y="10692"/>
                  <a:chExt cx="2500" cy="4482"/>
                </a:xfrm>
              </p:grpSpPr>
              <p:sp>
                <p:nvSpPr>
                  <p:cNvPr id="266" name="Rectangle 249" descr="Diagonal dunkel nach oben"/>
                  <p:cNvSpPr>
                    <a:spLocks noChangeArrowheads="1"/>
                  </p:cNvSpPr>
                  <p:nvPr/>
                </p:nvSpPr>
                <p:spPr bwMode="auto">
                  <a:xfrm rot="588095">
                    <a:off x="7105" y="12385"/>
                    <a:ext cx="1531" cy="125"/>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267" name="Group 250"/>
                  <p:cNvGrpSpPr>
                    <a:grpSpLocks/>
                  </p:cNvGrpSpPr>
                  <p:nvPr/>
                </p:nvGrpSpPr>
                <p:grpSpPr bwMode="auto">
                  <a:xfrm>
                    <a:off x="6136" y="12918"/>
                    <a:ext cx="2085" cy="2256"/>
                    <a:chOff x="8013" y="6763"/>
                    <a:chExt cx="2085" cy="2085"/>
                  </a:xfrm>
                </p:grpSpPr>
                <p:sp>
                  <p:nvSpPr>
                    <p:cNvPr id="281" name="Oval 251" descr="Kleines Konfetti"/>
                    <p:cNvSpPr>
                      <a:spLocks noChangeAspect="1" noChangeArrowheads="1"/>
                    </p:cNvSpPr>
                    <p:nvPr/>
                  </p:nvSpPr>
                  <p:spPr bwMode="auto">
                    <a:xfrm>
                      <a:off x="8013" y="6763"/>
                      <a:ext cx="2085" cy="2085"/>
                    </a:xfrm>
                    <a:prstGeom prst="ellipse">
                      <a:avLst/>
                    </a:prstGeom>
                    <a:pattFill prst="smConfetti">
                      <a:fgClr>
                        <a:srgbClr val="000000"/>
                      </a:fgClr>
                      <a:bgClr>
                        <a:srgbClr val="FFFFFF"/>
                      </a:bgClr>
                    </a:patt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82" name="Oval 252"/>
                    <p:cNvSpPr>
                      <a:spLocks noChangeAspect="1" noChangeArrowheads="1"/>
                    </p:cNvSpPr>
                    <p:nvPr/>
                  </p:nvSpPr>
                  <p:spPr bwMode="auto">
                    <a:xfrm>
                      <a:off x="8144" y="6896"/>
                      <a:ext cx="1813" cy="18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268" name="Rectangle 253" descr="Diagonal hell nach unten"/>
                  <p:cNvSpPr>
                    <a:spLocks noChangeArrowheads="1"/>
                  </p:cNvSpPr>
                  <p:nvPr/>
                </p:nvSpPr>
                <p:spPr bwMode="auto">
                  <a:xfrm>
                    <a:off x="7114" y="12335"/>
                    <a:ext cx="130" cy="1740"/>
                  </a:xfrm>
                  <a:prstGeom prst="rect">
                    <a:avLst/>
                  </a:prstGeom>
                  <a:pattFill prst="ltDn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69" name="Rectangle 254" descr="Diagonal dunkel nach oben"/>
                  <p:cNvSpPr>
                    <a:spLocks noChangeAspect="1" noChangeArrowheads="1"/>
                  </p:cNvSpPr>
                  <p:nvPr/>
                </p:nvSpPr>
                <p:spPr bwMode="auto">
                  <a:xfrm>
                    <a:off x="7082" y="12136"/>
                    <a:ext cx="175" cy="348"/>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270" name="Group 255"/>
                  <p:cNvGrpSpPr>
                    <a:grpSpLocks/>
                  </p:cNvGrpSpPr>
                  <p:nvPr/>
                </p:nvGrpSpPr>
                <p:grpSpPr bwMode="auto">
                  <a:xfrm rot="7821618">
                    <a:off x="7703" y="11941"/>
                    <a:ext cx="626" cy="1034"/>
                    <a:chOff x="5022" y="6148"/>
                    <a:chExt cx="626" cy="1034"/>
                  </a:xfrm>
                </p:grpSpPr>
                <p:sp>
                  <p:nvSpPr>
                    <p:cNvPr id="278" name="Rectangle 256"/>
                    <p:cNvSpPr>
                      <a:spLocks noChangeArrowheads="1"/>
                    </p:cNvSpPr>
                    <p:nvPr/>
                  </p:nvSpPr>
                  <p:spPr bwMode="auto">
                    <a:xfrm rot="-1854097">
                      <a:off x="5313" y="6161"/>
                      <a:ext cx="85" cy="1020"/>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79" name="Rectangle 257"/>
                    <p:cNvSpPr>
                      <a:spLocks noChangeArrowheads="1"/>
                    </p:cNvSpPr>
                    <p:nvPr/>
                  </p:nvSpPr>
                  <p:spPr bwMode="auto">
                    <a:xfrm rot="-1854097">
                      <a:off x="5022" y="6148"/>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80" name="Oval 258"/>
                    <p:cNvSpPr>
                      <a:spLocks noChangeArrowheads="1"/>
                    </p:cNvSpPr>
                    <p:nvPr/>
                  </p:nvSpPr>
                  <p:spPr bwMode="auto">
                    <a:xfrm rot="3537805">
                      <a:off x="5487" y="7020"/>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271" name="Group 259"/>
                  <p:cNvGrpSpPr>
                    <a:grpSpLocks/>
                  </p:cNvGrpSpPr>
                  <p:nvPr/>
                </p:nvGrpSpPr>
                <p:grpSpPr bwMode="auto">
                  <a:xfrm rot="-8918473">
                    <a:off x="6879" y="12967"/>
                    <a:ext cx="626" cy="1034"/>
                    <a:chOff x="5022" y="6148"/>
                    <a:chExt cx="626" cy="1034"/>
                  </a:xfrm>
                </p:grpSpPr>
                <p:sp>
                  <p:nvSpPr>
                    <p:cNvPr id="275" name="Rectangle 260"/>
                    <p:cNvSpPr>
                      <a:spLocks noChangeArrowheads="1"/>
                    </p:cNvSpPr>
                    <p:nvPr/>
                  </p:nvSpPr>
                  <p:spPr bwMode="auto">
                    <a:xfrm rot="-1854097">
                      <a:off x="5313" y="6161"/>
                      <a:ext cx="85" cy="1020"/>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76" name="Rectangle 261"/>
                    <p:cNvSpPr>
                      <a:spLocks noChangeArrowheads="1"/>
                    </p:cNvSpPr>
                    <p:nvPr/>
                  </p:nvSpPr>
                  <p:spPr bwMode="auto">
                    <a:xfrm rot="-1854097">
                      <a:off x="5022" y="6148"/>
                      <a:ext cx="113" cy="113"/>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77" name="Oval 262"/>
                    <p:cNvSpPr>
                      <a:spLocks noChangeArrowheads="1"/>
                    </p:cNvSpPr>
                    <p:nvPr/>
                  </p:nvSpPr>
                  <p:spPr bwMode="auto">
                    <a:xfrm rot="3537805">
                      <a:off x="5487" y="7020"/>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272" name="AutoShape 263" descr="Diagonal weit nach unten"/>
                  <p:cNvSpPr>
                    <a:spLocks noChangeArrowheads="1"/>
                  </p:cNvSpPr>
                  <p:nvPr/>
                </p:nvSpPr>
                <p:spPr bwMode="auto">
                  <a:xfrm rot="1021809">
                    <a:off x="6264" y="11729"/>
                    <a:ext cx="1328" cy="463"/>
                  </a:xfrm>
                  <a:prstGeom prst="cube">
                    <a:avLst>
                      <a:gd name="adj" fmla="val 74083"/>
                    </a:avLst>
                  </a:prstGeom>
                  <a:pattFill prst="wdDn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73" name="AutoShape 264" descr="Diagonal weit nach unten"/>
                  <p:cNvSpPr>
                    <a:spLocks noChangeArrowheads="1"/>
                  </p:cNvSpPr>
                  <p:nvPr/>
                </p:nvSpPr>
                <p:spPr bwMode="auto">
                  <a:xfrm rot="1023560">
                    <a:off x="7328" y="10754"/>
                    <a:ext cx="577" cy="1628"/>
                  </a:xfrm>
                  <a:prstGeom prst="cube">
                    <a:avLst>
                      <a:gd name="adj" fmla="val 74083"/>
                    </a:avLst>
                  </a:prstGeom>
                  <a:pattFill prst="wdDn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74" name="AutoShape 265"/>
                  <p:cNvSpPr>
                    <a:spLocks noChangeArrowheads="1"/>
                  </p:cNvSpPr>
                  <p:nvPr/>
                </p:nvSpPr>
                <p:spPr bwMode="auto">
                  <a:xfrm rot="1023560">
                    <a:off x="7872" y="10692"/>
                    <a:ext cx="467" cy="1283"/>
                  </a:xfrm>
                  <a:prstGeom prst="cube">
                    <a:avLst>
                      <a:gd name="adj" fmla="val 74083"/>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grpSp>
        <p:sp>
          <p:nvSpPr>
            <p:cNvPr id="149" name="Oval 266"/>
            <p:cNvSpPr>
              <a:spLocks noChangeArrowheads="1"/>
            </p:cNvSpPr>
            <p:nvPr/>
          </p:nvSpPr>
          <p:spPr bwMode="auto">
            <a:xfrm rot="18716524" flipV="1">
              <a:off x="546894" y="3775869"/>
              <a:ext cx="69850" cy="968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50" name="Oval 267"/>
            <p:cNvSpPr>
              <a:spLocks noChangeArrowheads="1"/>
            </p:cNvSpPr>
            <p:nvPr/>
          </p:nvSpPr>
          <p:spPr bwMode="auto">
            <a:xfrm rot="18716524" flipV="1">
              <a:off x="4363244" y="3775869"/>
              <a:ext cx="69850" cy="968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51" name="Oval 268"/>
            <p:cNvSpPr>
              <a:spLocks noChangeArrowheads="1"/>
            </p:cNvSpPr>
            <p:nvPr/>
          </p:nvSpPr>
          <p:spPr bwMode="auto">
            <a:xfrm rot="21453241" flipV="1">
              <a:off x="554038" y="5373688"/>
              <a:ext cx="69850" cy="215900"/>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52" name="Oval 269"/>
            <p:cNvSpPr>
              <a:spLocks noChangeArrowheads="1"/>
            </p:cNvSpPr>
            <p:nvPr/>
          </p:nvSpPr>
          <p:spPr bwMode="auto">
            <a:xfrm rot="7613" flipV="1">
              <a:off x="4365625" y="5373688"/>
              <a:ext cx="69850" cy="215900"/>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53" name="Freeform 270"/>
            <p:cNvSpPr>
              <a:spLocks noChangeAspect="1"/>
            </p:cNvSpPr>
            <p:nvPr/>
          </p:nvSpPr>
          <p:spPr bwMode="auto">
            <a:xfrm rot="9193350">
              <a:off x="893763" y="3429000"/>
              <a:ext cx="309562" cy="206375"/>
            </a:xfrm>
            <a:custGeom>
              <a:avLst/>
              <a:gdLst>
                <a:gd name="T0" fmla="*/ 0 w 1193"/>
                <a:gd name="T1" fmla="*/ 2147483646 h 262"/>
                <a:gd name="T2" fmla="*/ 2147483646 w 1193"/>
                <a:gd name="T3" fmla="*/ 2147483646 h 262"/>
                <a:gd name="T4" fmla="*/ 2147483646 w 1193"/>
                <a:gd name="T5" fmla="*/ 2147483646 h 262"/>
                <a:gd name="T6" fmla="*/ 2147483646 w 1193"/>
                <a:gd name="T7" fmla="*/ 0 h 262"/>
                <a:gd name="T8" fmla="*/ 0 60000 65536"/>
                <a:gd name="T9" fmla="*/ 0 60000 65536"/>
                <a:gd name="T10" fmla="*/ 0 60000 65536"/>
                <a:gd name="T11" fmla="*/ 0 60000 65536"/>
                <a:gd name="T12" fmla="*/ 0 w 1193"/>
                <a:gd name="T13" fmla="*/ 0 h 262"/>
                <a:gd name="T14" fmla="*/ 1193 w 1193"/>
                <a:gd name="T15" fmla="*/ 262 h 262"/>
              </a:gdLst>
              <a:ahLst/>
              <a:cxnLst>
                <a:cxn ang="T8">
                  <a:pos x="T0" y="T1"/>
                </a:cxn>
                <a:cxn ang="T9">
                  <a:pos x="T2" y="T3"/>
                </a:cxn>
                <a:cxn ang="T10">
                  <a:pos x="T4" y="T5"/>
                </a:cxn>
                <a:cxn ang="T11">
                  <a:pos x="T6" y="T7"/>
                </a:cxn>
              </a:cxnLst>
              <a:rect l="T12" t="T13" r="T14" b="T15"/>
              <a:pathLst>
                <a:path w="1193" h="262">
                  <a:moveTo>
                    <a:pt x="0" y="262"/>
                  </a:moveTo>
                  <a:cubicBezTo>
                    <a:pt x="65" y="232"/>
                    <a:pt x="245" y="100"/>
                    <a:pt x="390" y="83"/>
                  </a:cubicBezTo>
                  <a:cubicBezTo>
                    <a:pt x="535" y="66"/>
                    <a:pt x="736" y="172"/>
                    <a:pt x="870" y="158"/>
                  </a:cubicBezTo>
                  <a:cubicBezTo>
                    <a:pt x="1004" y="144"/>
                    <a:pt x="1126" y="33"/>
                    <a:pt x="1193" y="0"/>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54" name="Freeform 271"/>
            <p:cNvSpPr>
              <a:spLocks noChangeAspect="1"/>
            </p:cNvSpPr>
            <p:nvPr/>
          </p:nvSpPr>
          <p:spPr bwMode="auto">
            <a:xfrm rot="9193350">
              <a:off x="2117725" y="3357563"/>
              <a:ext cx="309563" cy="206375"/>
            </a:xfrm>
            <a:custGeom>
              <a:avLst/>
              <a:gdLst>
                <a:gd name="T0" fmla="*/ 0 w 1193"/>
                <a:gd name="T1" fmla="*/ 2147483646 h 262"/>
                <a:gd name="T2" fmla="*/ 2147483646 w 1193"/>
                <a:gd name="T3" fmla="*/ 2147483646 h 262"/>
                <a:gd name="T4" fmla="*/ 2147483646 w 1193"/>
                <a:gd name="T5" fmla="*/ 2147483646 h 262"/>
                <a:gd name="T6" fmla="*/ 2147483646 w 1193"/>
                <a:gd name="T7" fmla="*/ 0 h 262"/>
                <a:gd name="T8" fmla="*/ 0 60000 65536"/>
                <a:gd name="T9" fmla="*/ 0 60000 65536"/>
                <a:gd name="T10" fmla="*/ 0 60000 65536"/>
                <a:gd name="T11" fmla="*/ 0 60000 65536"/>
                <a:gd name="T12" fmla="*/ 0 w 1193"/>
                <a:gd name="T13" fmla="*/ 0 h 262"/>
                <a:gd name="T14" fmla="*/ 1193 w 1193"/>
                <a:gd name="T15" fmla="*/ 262 h 262"/>
              </a:gdLst>
              <a:ahLst/>
              <a:cxnLst>
                <a:cxn ang="T8">
                  <a:pos x="T0" y="T1"/>
                </a:cxn>
                <a:cxn ang="T9">
                  <a:pos x="T2" y="T3"/>
                </a:cxn>
                <a:cxn ang="T10">
                  <a:pos x="T4" y="T5"/>
                </a:cxn>
                <a:cxn ang="T11">
                  <a:pos x="T6" y="T7"/>
                </a:cxn>
              </a:cxnLst>
              <a:rect l="T12" t="T13" r="T14" b="T15"/>
              <a:pathLst>
                <a:path w="1193" h="262">
                  <a:moveTo>
                    <a:pt x="0" y="262"/>
                  </a:moveTo>
                  <a:cubicBezTo>
                    <a:pt x="65" y="232"/>
                    <a:pt x="245" y="100"/>
                    <a:pt x="390" y="83"/>
                  </a:cubicBezTo>
                  <a:cubicBezTo>
                    <a:pt x="535" y="66"/>
                    <a:pt x="736" y="172"/>
                    <a:pt x="870" y="158"/>
                  </a:cubicBezTo>
                  <a:cubicBezTo>
                    <a:pt x="1004" y="144"/>
                    <a:pt x="1126" y="33"/>
                    <a:pt x="1193" y="0"/>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nvGrpSpPr>
            <p:cNvPr id="155" name="Group 273"/>
            <p:cNvGrpSpPr>
              <a:grpSpLocks/>
            </p:cNvGrpSpPr>
            <p:nvPr/>
          </p:nvGrpSpPr>
          <p:grpSpPr bwMode="auto">
            <a:xfrm>
              <a:off x="6299200" y="5516563"/>
              <a:ext cx="209550" cy="115887"/>
              <a:chOff x="3288" y="2795"/>
              <a:chExt cx="272" cy="136"/>
            </a:xfrm>
          </p:grpSpPr>
          <p:sp>
            <p:nvSpPr>
              <p:cNvPr id="248" name="Freihandform 98"/>
              <p:cNvSpPr>
                <a:spLocks/>
              </p:cNvSpPr>
              <p:nvPr/>
            </p:nvSpPr>
            <p:spPr bwMode="auto">
              <a:xfrm>
                <a:off x="3288"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49" name="Freihandform 98"/>
              <p:cNvSpPr>
                <a:spLocks/>
              </p:cNvSpPr>
              <p:nvPr/>
            </p:nvSpPr>
            <p:spPr bwMode="auto">
              <a:xfrm rot="2967504">
                <a:off x="3356"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50" name="Freihandform 98"/>
              <p:cNvSpPr>
                <a:spLocks/>
              </p:cNvSpPr>
              <p:nvPr/>
            </p:nvSpPr>
            <p:spPr bwMode="auto">
              <a:xfrm rot="4381239">
                <a:off x="3424"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grpSp>
        <p:grpSp>
          <p:nvGrpSpPr>
            <p:cNvPr id="156" name="Group 281"/>
            <p:cNvGrpSpPr>
              <a:grpSpLocks/>
            </p:cNvGrpSpPr>
            <p:nvPr/>
          </p:nvGrpSpPr>
          <p:grpSpPr bwMode="auto">
            <a:xfrm>
              <a:off x="5938838" y="5516563"/>
              <a:ext cx="155575" cy="69850"/>
              <a:chOff x="3288" y="2795"/>
              <a:chExt cx="272" cy="136"/>
            </a:xfrm>
          </p:grpSpPr>
          <p:sp>
            <p:nvSpPr>
              <p:cNvPr id="245" name="Freihandform 98"/>
              <p:cNvSpPr>
                <a:spLocks/>
              </p:cNvSpPr>
              <p:nvPr/>
            </p:nvSpPr>
            <p:spPr bwMode="auto">
              <a:xfrm>
                <a:off x="3288"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46" name="Freihandform 98"/>
              <p:cNvSpPr>
                <a:spLocks/>
              </p:cNvSpPr>
              <p:nvPr/>
            </p:nvSpPr>
            <p:spPr bwMode="auto">
              <a:xfrm rot="2967504">
                <a:off x="3356"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47" name="Freihandform 98"/>
              <p:cNvSpPr>
                <a:spLocks/>
              </p:cNvSpPr>
              <p:nvPr/>
            </p:nvSpPr>
            <p:spPr bwMode="auto">
              <a:xfrm rot="4381239">
                <a:off x="3424"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grpSp>
        <p:sp>
          <p:nvSpPr>
            <p:cNvPr id="157" name="Rectangle 304" descr="Krähenfüße"/>
            <p:cNvSpPr>
              <a:spLocks noChangeAspect="1" noChangeArrowheads="1"/>
            </p:cNvSpPr>
            <p:nvPr/>
          </p:nvSpPr>
          <p:spPr bwMode="auto">
            <a:xfrm rot="10800000">
              <a:off x="4643438" y="3716338"/>
              <a:ext cx="120650" cy="2016125"/>
            </a:xfrm>
            <a:prstGeom prst="rect">
              <a:avLst/>
            </a:prstGeom>
            <a:pattFill prst="divot">
              <a:fgClr>
                <a:srgbClr val="000000"/>
              </a:fgClr>
              <a:bgClr>
                <a:srgbClr val="CC9900"/>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58" name="Rectangle 305" descr="Krähenfüße"/>
            <p:cNvSpPr>
              <a:spLocks noChangeAspect="1" noChangeArrowheads="1"/>
            </p:cNvSpPr>
            <p:nvPr/>
          </p:nvSpPr>
          <p:spPr bwMode="auto">
            <a:xfrm rot="10800000">
              <a:off x="7162800" y="3716338"/>
              <a:ext cx="120650" cy="2016125"/>
            </a:xfrm>
            <a:prstGeom prst="rect">
              <a:avLst/>
            </a:prstGeom>
            <a:pattFill prst="divot">
              <a:fgClr>
                <a:srgbClr val="000000"/>
              </a:fgClr>
              <a:bgClr>
                <a:srgbClr val="CC9900"/>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159" name="Group 487"/>
            <p:cNvGrpSpPr>
              <a:grpSpLocks/>
            </p:cNvGrpSpPr>
            <p:nvPr/>
          </p:nvGrpSpPr>
          <p:grpSpPr bwMode="auto">
            <a:xfrm>
              <a:off x="6011863" y="4919663"/>
              <a:ext cx="954087" cy="669925"/>
              <a:chOff x="11" y="3612"/>
              <a:chExt cx="601" cy="422"/>
            </a:xfrm>
          </p:grpSpPr>
          <p:grpSp>
            <p:nvGrpSpPr>
              <p:cNvPr id="224" name="Group 295"/>
              <p:cNvGrpSpPr>
                <a:grpSpLocks/>
              </p:cNvGrpSpPr>
              <p:nvPr/>
            </p:nvGrpSpPr>
            <p:grpSpPr bwMode="auto">
              <a:xfrm>
                <a:off x="158" y="3703"/>
                <a:ext cx="408" cy="227"/>
                <a:chOff x="340" y="3884"/>
                <a:chExt cx="408" cy="227"/>
              </a:xfrm>
            </p:grpSpPr>
            <p:sp>
              <p:nvSpPr>
                <p:cNvPr id="243" name="Rectangle 296"/>
                <p:cNvSpPr>
                  <a:spLocks noChangeAspect="1" noChangeArrowheads="1"/>
                </p:cNvSpPr>
                <p:nvPr/>
              </p:nvSpPr>
              <p:spPr bwMode="auto">
                <a:xfrm>
                  <a:off x="340" y="3960"/>
                  <a:ext cx="408" cy="60"/>
                </a:xfrm>
                <a:prstGeom prst="rect">
                  <a:avLst/>
                </a:prstGeom>
                <a:noFill/>
                <a:ln w="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44" name="Line 297"/>
                <p:cNvSpPr>
                  <a:spLocks noChangeShapeType="1"/>
                </p:cNvSpPr>
                <p:nvPr/>
              </p:nvSpPr>
              <p:spPr bwMode="auto">
                <a:xfrm rot="-2700000">
                  <a:off x="431" y="3884"/>
                  <a:ext cx="227" cy="22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grpSp>
          <p:grpSp>
            <p:nvGrpSpPr>
              <p:cNvPr id="225" name="Group 298"/>
              <p:cNvGrpSpPr>
                <a:grpSpLocks/>
              </p:cNvGrpSpPr>
              <p:nvPr/>
            </p:nvGrpSpPr>
            <p:grpSpPr bwMode="auto">
              <a:xfrm>
                <a:off x="158" y="3793"/>
                <a:ext cx="408" cy="227"/>
                <a:chOff x="340" y="3884"/>
                <a:chExt cx="408" cy="227"/>
              </a:xfrm>
            </p:grpSpPr>
            <p:sp>
              <p:nvSpPr>
                <p:cNvPr id="241" name="Rectangle 299"/>
                <p:cNvSpPr>
                  <a:spLocks noChangeAspect="1" noChangeArrowheads="1"/>
                </p:cNvSpPr>
                <p:nvPr/>
              </p:nvSpPr>
              <p:spPr bwMode="auto">
                <a:xfrm>
                  <a:off x="340" y="3960"/>
                  <a:ext cx="408" cy="60"/>
                </a:xfrm>
                <a:prstGeom prst="rect">
                  <a:avLst/>
                </a:prstGeom>
                <a:noFill/>
                <a:ln w="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42" name="Line 300"/>
                <p:cNvSpPr>
                  <a:spLocks noChangeShapeType="1"/>
                </p:cNvSpPr>
                <p:nvPr/>
              </p:nvSpPr>
              <p:spPr bwMode="auto">
                <a:xfrm rot="-2700000">
                  <a:off x="431" y="3884"/>
                  <a:ext cx="227" cy="22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grpSp>
          <p:grpSp>
            <p:nvGrpSpPr>
              <p:cNvPr id="226" name="Group 301"/>
              <p:cNvGrpSpPr>
                <a:grpSpLocks/>
              </p:cNvGrpSpPr>
              <p:nvPr/>
            </p:nvGrpSpPr>
            <p:grpSpPr bwMode="auto">
              <a:xfrm>
                <a:off x="158" y="3612"/>
                <a:ext cx="408" cy="227"/>
                <a:chOff x="340" y="3884"/>
                <a:chExt cx="408" cy="227"/>
              </a:xfrm>
            </p:grpSpPr>
            <p:sp>
              <p:nvSpPr>
                <p:cNvPr id="239" name="Rectangle 302"/>
                <p:cNvSpPr>
                  <a:spLocks noChangeAspect="1" noChangeArrowheads="1"/>
                </p:cNvSpPr>
                <p:nvPr/>
              </p:nvSpPr>
              <p:spPr bwMode="auto">
                <a:xfrm>
                  <a:off x="340" y="3960"/>
                  <a:ext cx="408" cy="60"/>
                </a:xfrm>
                <a:prstGeom prst="rect">
                  <a:avLst/>
                </a:prstGeom>
                <a:noFill/>
                <a:ln w="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40" name="Line 303"/>
                <p:cNvSpPr>
                  <a:spLocks noChangeShapeType="1"/>
                </p:cNvSpPr>
                <p:nvPr/>
              </p:nvSpPr>
              <p:spPr bwMode="auto">
                <a:xfrm rot="-2700000">
                  <a:off x="431" y="3884"/>
                  <a:ext cx="227" cy="22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de-DE"/>
                </a:p>
              </p:txBody>
            </p:sp>
          </p:grpSp>
          <p:sp>
            <p:nvSpPr>
              <p:cNvPr id="227" name="Rectangle 368"/>
              <p:cNvSpPr>
                <a:spLocks noChangeAspect="1" noChangeArrowheads="1"/>
              </p:cNvSpPr>
              <p:nvPr/>
            </p:nvSpPr>
            <p:spPr bwMode="auto">
              <a:xfrm>
                <a:off x="113" y="3793"/>
                <a:ext cx="499" cy="151"/>
              </a:xfrm>
              <a:prstGeom prst="rect">
                <a:avLst/>
              </a:prstGeom>
              <a:solidFill>
                <a:schemeClr val="folHlink">
                  <a:alpha val="20000"/>
                </a:schemeClr>
              </a:solidFill>
              <a:ln w="19050">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228" name="Group 457"/>
              <p:cNvGrpSpPr>
                <a:grpSpLocks/>
              </p:cNvGrpSpPr>
              <p:nvPr/>
            </p:nvGrpSpPr>
            <p:grpSpPr bwMode="auto">
              <a:xfrm rot="20682395" flipH="1">
                <a:off x="280" y="3843"/>
                <a:ext cx="169" cy="191"/>
                <a:chOff x="3178" y="6686"/>
                <a:chExt cx="2085" cy="2085"/>
              </a:xfrm>
            </p:grpSpPr>
            <p:sp>
              <p:nvSpPr>
                <p:cNvPr id="237" name="Oval 458" descr="Kleines Konfetti"/>
                <p:cNvSpPr>
                  <a:spLocks noChangeAspect="1" noChangeArrowheads="1"/>
                </p:cNvSpPr>
                <p:nvPr/>
              </p:nvSpPr>
              <p:spPr bwMode="auto">
                <a:xfrm>
                  <a:off x="3178" y="6686"/>
                  <a:ext cx="2085" cy="2085"/>
                </a:xfrm>
                <a:prstGeom prst="ellipse">
                  <a:avLst/>
                </a:prstGeom>
                <a:pattFill prst="smConfetti">
                  <a:fgClr>
                    <a:srgbClr val="000000"/>
                  </a:fgClr>
                  <a:bgClr>
                    <a:srgbClr val="FFFFFF"/>
                  </a:bgClr>
                </a:patt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38" name="Oval 459"/>
                <p:cNvSpPr>
                  <a:spLocks noChangeAspect="1" noChangeArrowheads="1"/>
                </p:cNvSpPr>
                <p:nvPr/>
              </p:nvSpPr>
              <p:spPr bwMode="auto">
                <a:xfrm>
                  <a:off x="3309" y="6819"/>
                  <a:ext cx="1813" cy="18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229" name="Freeform 461" descr="Diagonal hell nach unten"/>
              <p:cNvSpPr>
                <a:spLocks noChangeAspect="1"/>
              </p:cNvSpPr>
              <p:nvPr/>
            </p:nvSpPr>
            <p:spPr bwMode="auto">
              <a:xfrm rot="20137435" flipH="1">
                <a:off x="267" y="3783"/>
                <a:ext cx="75" cy="175"/>
              </a:xfrm>
              <a:custGeom>
                <a:avLst/>
                <a:gdLst>
                  <a:gd name="T0" fmla="*/ 0 w 1153"/>
                  <a:gd name="T1" fmla="*/ 0 h 2577"/>
                  <a:gd name="T2" fmla="*/ 0 w 1153"/>
                  <a:gd name="T3" fmla="*/ 0 h 2577"/>
                  <a:gd name="T4" fmla="*/ 0 w 1153"/>
                  <a:gd name="T5" fmla="*/ 0 h 2577"/>
                  <a:gd name="T6" fmla="*/ 0 w 1153"/>
                  <a:gd name="T7" fmla="*/ 0 h 2577"/>
                  <a:gd name="T8" fmla="*/ 0 w 1153"/>
                  <a:gd name="T9" fmla="*/ 0 h 2577"/>
                  <a:gd name="T10" fmla="*/ 0 w 1153"/>
                  <a:gd name="T11" fmla="*/ 0 h 2577"/>
                  <a:gd name="T12" fmla="*/ 0 w 1153"/>
                  <a:gd name="T13" fmla="*/ 0 h 2577"/>
                  <a:gd name="T14" fmla="*/ 0 60000 65536"/>
                  <a:gd name="T15" fmla="*/ 0 60000 65536"/>
                  <a:gd name="T16" fmla="*/ 0 60000 65536"/>
                  <a:gd name="T17" fmla="*/ 0 60000 65536"/>
                  <a:gd name="T18" fmla="*/ 0 60000 65536"/>
                  <a:gd name="T19" fmla="*/ 0 60000 65536"/>
                  <a:gd name="T20" fmla="*/ 0 60000 65536"/>
                  <a:gd name="T21" fmla="*/ 0 w 1153"/>
                  <a:gd name="T22" fmla="*/ 0 h 2577"/>
                  <a:gd name="T23" fmla="*/ 1153 w 1153"/>
                  <a:gd name="T24" fmla="*/ 2577 h 25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3" h="2577">
                    <a:moveTo>
                      <a:pt x="0" y="2489"/>
                    </a:moveTo>
                    <a:lnTo>
                      <a:pt x="120" y="2577"/>
                    </a:lnTo>
                    <a:lnTo>
                      <a:pt x="507" y="2036"/>
                    </a:lnTo>
                    <a:lnTo>
                      <a:pt x="1153" y="41"/>
                    </a:lnTo>
                    <a:lnTo>
                      <a:pt x="1011" y="0"/>
                    </a:lnTo>
                    <a:lnTo>
                      <a:pt x="383" y="1961"/>
                    </a:lnTo>
                    <a:lnTo>
                      <a:pt x="0" y="2489"/>
                    </a:lnTo>
                    <a:close/>
                  </a:path>
                </a:pathLst>
              </a:custGeom>
              <a:pattFill prst="ltDnDiag">
                <a:fgClr>
                  <a:srgbClr val="000000"/>
                </a:fgClr>
                <a:bgClr>
                  <a:srgbClr val="FFFFFF"/>
                </a:bgClr>
              </a:pattFill>
              <a:ln w="9525">
                <a:solidFill>
                  <a:srgbClr val="000000"/>
                </a:solidFill>
                <a:round/>
                <a:headEnd/>
                <a:tailEnd/>
              </a:ln>
            </p:spPr>
            <p:txBody>
              <a:bodyPr/>
              <a:lstStyle/>
              <a:p>
                <a:endParaRPr lang="de-DE"/>
              </a:p>
            </p:txBody>
          </p:sp>
          <p:sp>
            <p:nvSpPr>
              <p:cNvPr id="230" name="Rectangle 462" descr="Diagonal dunkel nach oben"/>
              <p:cNvSpPr>
                <a:spLocks noChangeAspect="1" noChangeArrowheads="1"/>
              </p:cNvSpPr>
              <p:nvPr/>
            </p:nvSpPr>
            <p:spPr bwMode="auto">
              <a:xfrm rot="19042924" flipH="1">
                <a:off x="254" y="3803"/>
                <a:ext cx="14" cy="57"/>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31" name="Freeform 463"/>
              <p:cNvSpPr>
                <a:spLocks/>
              </p:cNvSpPr>
              <p:nvPr/>
            </p:nvSpPr>
            <p:spPr bwMode="auto">
              <a:xfrm rot="20682395" flipH="1">
                <a:off x="11" y="3700"/>
                <a:ext cx="210" cy="133"/>
              </a:xfrm>
              <a:custGeom>
                <a:avLst/>
                <a:gdLst>
                  <a:gd name="T0" fmla="*/ 0 w 1196"/>
                  <a:gd name="T1" fmla="*/ 0 h 1027"/>
                  <a:gd name="T2" fmla="*/ 0 w 1196"/>
                  <a:gd name="T3" fmla="*/ 0 h 1027"/>
                  <a:gd name="T4" fmla="*/ 0 w 1196"/>
                  <a:gd name="T5" fmla="*/ 0 h 1027"/>
                  <a:gd name="T6" fmla="*/ 0 60000 65536"/>
                  <a:gd name="T7" fmla="*/ 0 60000 65536"/>
                  <a:gd name="T8" fmla="*/ 0 60000 65536"/>
                  <a:gd name="T9" fmla="*/ 0 w 1196"/>
                  <a:gd name="T10" fmla="*/ 0 h 1027"/>
                  <a:gd name="T11" fmla="*/ 1196 w 1196"/>
                  <a:gd name="T12" fmla="*/ 1027 h 1027"/>
                </a:gdLst>
                <a:ahLst/>
                <a:cxnLst>
                  <a:cxn ang="T6">
                    <a:pos x="T0" y="T1"/>
                  </a:cxn>
                  <a:cxn ang="T7">
                    <a:pos x="T2" y="T3"/>
                  </a:cxn>
                  <a:cxn ang="T8">
                    <a:pos x="T4" y="T5"/>
                  </a:cxn>
                </a:cxnLst>
                <a:rect l="T9" t="T10" r="T11" b="T12"/>
                <a:pathLst>
                  <a:path w="1196" h="1027">
                    <a:moveTo>
                      <a:pt x="0" y="1027"/>
                    </a:moveTo>
                    <a:lnTo>
                      <a:pt x="507" y="75"/>
                    </a:lnTo>
                    <a:lnTo>
                      <a:pt x="1196" y="0"/>
                    </a:lnTo>
                  </a:path>
                </a:pathLst>
              </a:custGeom>
              <a:noFill/>
              <a:ln w="57150">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nvGrpSpPr>
              <p:cNvPr id="232" name="Group 464"/>
              <p:cNvGrpSpPr>
                <a:grpSpLocks/>
              </p:cNvGrpSpPr>
              <p:nvPr/>
            </p:nvGrpSpPr>
            <p:grpSpPr bwMode="auto">
              <a:xfrm rot="20682395" flipH="1">
                <a:off x="304" y="3858"/>
                <a:ext cx="55" cy="86"/>
                <a:chOff x="3978" y="6588"/>
                <a:chExt cx="679" cy="1020"/>
              </a:xfrm>
            </p:grpSpPr>
            <p:sp>
              <p:nvSpPr>
                <p:cNvPr id="234" name="Rectangle 465"/>
                <p:cNvSpPr>
                  <a:spLocks noChangeArrowheads="1"/>
                </p:cNvSpPr>
                <p:nvPr/>
              </p:nvSpPr>
              <p:spPr bwMode="auto">
                <a:xfrm rot="-8754858">
                  <a:off x="4290" y="6588"/>
                  <a:ext cx="85" cy="1020"/>
                </a:xfrm>
                <a:prstGeom prst="rect">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35" name="Oval 466"/>
                <p:cNvSpPr>
                  <a:spLocks noChangeArrowheads="1"/>
                </p:cNvSpPr>
                <p:nvPr/>
              </p:nvSpPr>
              <p:spPr bwMode="auto">
                <a:xfrm rot="-3362955">
                  <a:off x="4496" y="6655"/>
                  <a:ext cx="210" cy="113"/>
                </a:xfrm>
                <a:prstGeom prst="ellipse">
                  <a:avLst/>
                </a:prstGeom>
                <a:solidFill>
                  <a:srgbClr val="FFFFFF"/>
                </a:solid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36" name="Oval 467"/>
                <p:cNvSpPr>
                  <a:spLocks noChangeAspect="1" noChangeArrowheads="1"/>
                </p:cNvSpPr>
                <p:nvPr/>
              </p:nvSpPr>
              <p:spPr bwMode="auto">
                <a:xfrm>
                  <a:off x="3978" y="7463"/>
                  <a:ext cx="115" cy="114"/>
                </a:xfrm>
                <a:prstGeom prst="ellipse">
                  <a:avLst/>
                </a:prstGeom>
                <a:noFill/>
                <a:ln w="38100">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233" name="AutoShape 468"/>
              <p:cNvSpPr>
                <a:spLocks noChangeArrowheads="1"/>
              </p:cNvSpPr>
              <p:nvPr/>
            </p:nvSpPr>
            <p:spPr bwMode="auto">
              <a:xfrm rot="20148248" flipH="1">
                <a:off x="223" y="3776"/>
                <a:ext cx="18" cy="18"/>
              </a:xfrm>
              <a:prstGeom prst="parallelogram">
                <a:avLst>
                  <a:gd name="adj" fmla="val 30532"/>
                </a:avLst>
              </a:prstGeom>
              <a:solidFill>
                <a:srgbClr val="FFFFFF"/>
              </a:solid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grpSp>
          <p:nvGrpSpPr>
            <p:cNvPr id="160" name="Group 488"/>
            <p:cNvGrpSpPr>
              <a:grpSpLocks/>
            </p:cNvGrpSpPr>
            <p:nvPr/>
          </p:nvGrpSpPr>
          <p:grpSpPr bwMode="auto">
            <a:xfrm>
              <a:off x="5435600" y="5400675"/>
              <a:ext cx="209550" cy="115888"/>
              <a:chOff x="3288" y="2795"/>
              <a:chExt cx="272" cy="136"/>
            </a:xfrm>
          </p:grpSpPr>
          <p:sp>
            <p:nvSpPr>
              <p:cNvPr id="221" name="Freihandform 98"/>
              <p:cNvSpPr>
                <a:spLocks/>
              </p:cNvSpPr>
              <p:nvPr/>
            </p:nvSpPr>
            <p:spPr bwMode="auto">
              <a:xfrm>
                <a:off x="3288"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22" name="Freihandform 98"/>
              <p:cNvSpPr>
                <a:spLocks/>
              </p:cNvSpPr>
              <p:nvPr/>
            </p:nvSpPr>
            <p:spPr bwMode="auto">
              <a:xfrm rot="2967504">
                <a:off x="3356"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23" name="Freihandform 98"/>
              <p:cNvSpPr>
                <a:spLocks/>
              </p:cNvSpPr>
              <p:nvPr/>
            </p:nvSpPr>
            <p:spPr bwMode="auto">
              <a:xfrm rot="4381239">
                <a:off x="3424"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grpSp>
        <p:grpSp>
          <p:nvGrpSpPr>
            <p:cNvPr id="161" name="Group 492"/>
            <p:cNvGrpSpPr>
              <a:grpSpLocks/>
            </p:cNvGrpSpPr>
            <p:nvPr/>
          </p:nvGrpSpPr>
          <p:grpSpPr bwMode="auto">
            <a:xfrm>
              <a:off x="5003800" y="5473700"/>
              <a:ext cx="209550" cy="115888"/>
              <a:chOff x="3288" y="2795"/>
              <a:chExt cx="272" cy="136"/>
            </a:xfrm>
          </p:grpSpPr>
          <p:sp>
            <p:nvSpPr>
              <p:cNvPr id="218" name="Freihandform 98"/>
              <p:cNvSpPr>
                <a:spLocks/>
              </p:cNvSpPr>
              <p:nvPr/>
            </p:nvSpPr>
            <p:spPr bwMode="auto">
              <a:xfrm>
                <a:off x="3288"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19" name="Freihandform 98"/>
              <p:cNvSpPr>
                <a:spLocks/>
              </p:cNvSpPr>
              <p:nvPr/>
            </p:nvSpPr>
            <p:spPr bwMode="auto">
              <a:xfrm rot="2967504">
                <a:off x="3356"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20" name="Freihandform 98"/>
              <p:cNvSpPr>
                <a:spLocks/>
              </p:cNvSpPr>
              <p:nvPr/>
            </p:nvSpPr>
            <p:spPr bwMode="auto">
              <a:xfrm rot="4381239">
                <a:off x="3424"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grpSp>
        <p:grpSp>
          <p:nvGrpSpPr>
            <p:cNvPr id="162" name="Group 496"/>
            <p:cNvGrpSpPr>
              <a:grpSpLocks/>
            </p:cNvGrpSpPr>
            <p:nvPr/>
          </p:nvGrpSpPr>
          <p:grpSpPr bwMode="auto">
            <a:xfrm>
              <a:off x="4859338" y="5257800"/>
              <a:ext cx="209550" cy="115888"/>
              <a:chOff x="3288" y="2795"/>
              <a:chExt cx="272" cy="136"/>
            </a:xfrm>
          </p:grpSpPr>
          <p:sp>
            <p:nvSpPr>
              <p:cNvPr id="215" name="Freihandform 98"/>
              <p:cNvSpPr>
                <a:spLocks/>
              </p:cNvSpPr>
              <p:nvPr/>
            </p:nvSpPr>
            <p:spPr bwMode="auto">
              <a:xfrm>
                <a:off x="3288"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16" name="Freihandform 98"/>
              <p:cNvSpPr>
                <a:spLocks/>
              </p:cNvSpPr>
              <p:nvPr/>
            </p:nvSpPr>
            <p:spPr bwMode="auto">
              <a:xfrm rot="2967504">
                <a:off x="3356"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sp>
            <p:nvSpPr>
              <p:cNvPr id="217" name="Freihandform 98"/>
              <p:cNvSpPr>
                <a:spLocks/>
              </p:cNvSpPr>
              <p:nvPr/>
            </p:nvSpPr>
            <p:spPr bwMode="auto">
              <a:xfrm rot="4381239">
                <a:off x="3424" y="2795"/>
                <a:ext cx="136" cy="136"/>
              </a:xfrm>
              <a:custGeom>
                <a:avLst/>
                <a:gdLst>
                  <a:gd name="T0" fmla="*/ 0 w 76200"/>
                  <a:gd name="T1" fmla="*/ 0 h 239486"/>
                  <a:gd name="T2" fmla="*/ 0 w 76200"/>
                  <a:gd name="T3" fmla="*/ 0 h 239486"/>
                  <a:gd name="T4" fmla="*/ 0 w 76200"/>
                  <a:gd name="T5" fmla="*/ 0 h 239486"/>
                  <a:gd name="T6" fmla="*/ 0 w 76200"/>
                  <a:gd name="T7" fmla="*/ 0 h 239486"/>
                  <a:gd name="T8" fmla="*/ 0 w 76200"/>
                  <a:gd name="T9" fmla="*/ 0 h 239486"/>
                  <a:gd name="T10" fmla="*/ 0 w 76200"/>
                  <a:gd name="T11" fmla="*/ 0 h 239486"/>
                  <a:gd name="T12" fmla="*/ 0 w 76200"/>
                  <a:gd name="T13" fmla="*/ 0 h 239486"/>
                  <a:gd name="T14" fmla="*/ 0 w 76200"/>
                  <a:gd name="T15" fmla="*/ 0 h 239486"/>
                  <a:gd name="T16" fmla="*/ 0 w 76200"/>
                  <a:gd name="T17" fmla="*/ 0 h 2394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200"/>
                  <a:gd name="T28" fmla="*/ 0 h 239486"/>
                  <a:gd name="T29" fmla="*/ 76200 w 76200"/>
                  <a:gd name="T30" fmla="*/ 239486 h 2394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200" h="239486">
                    <a:moveTo>
                      <a:pt x="0" y="0"/>
                    </a:moveTo>
                    <a:cubicBezTo>
                      <a:pt x="1814" y="9072"/>
                      <a:pt x="4036" y="18071"/>
                      <a:pt x="5443" y="27215"/>
                    </a:cubicBezTo>
                    <a:cubicBezTo>
                      <a:pt x="7667" y="41672"/>
                      <a:pt x="7037" y="56646"/>
                      <a:pt x="10886" y="70758"/>
                    </a:cubicBezTo>
                    <a:cubicBezTo>
                      <a:pt x="12607" y="77069"/>
                      <a:pt x="18846" y="81235"/>
                      <a:pt x="21771" y="87086"/>
                    </a:cubicBezTo>
                    <a:cubicBezTo>
                      <a:pt x="24337" y="92218"/>
                      <a:pt x="24031" y="98641"/>
                      <a:pt x="27214" y="103415"/>
                    </a:cubicBezTo>
                    <a:cubicBezTo>
                      <a:pt x="31484" y="109820"/>
                      <a:pt x="38817" y="113667"/>
                      <a:pt x="43543" y="119743"/>
                    </a:cubicBezTo>
                    <a:cubicBezTo>
                      <a:pt x="51575" y="130070"/>
                      <a:pt x="65314" y="152400"/>
                      <a:pt x="65314" y="152400"/>
                    </a:cubicBezTo>
                    <a:cubicBezTo>
                      <a:pt x="67128" y="159657"/>
                      <a:pt x="69829" y="166749"/>
                      <a:pt x="70757" y="174172"/>
                    </a:cubicBezTo>
                    <a:cubicBezTo>
                      <a:pt x="73467" y="195850"/>
                      <a:pt x="76200" y="239486"/>
                      <a:pt x="76200" y="239486"/>
                    </a:cubicBezTo>
                  </a:path>
                </a:pathLst>
              </a:custGeom>
              <a:noFill/>
              <a:ln w="9525">
                <a:solidFill>
                  <a:srgbClr val="339966"/>
                </a:solidFill>
                <a:round/>
                <a:headEnd/>
                <a:tailEnd/>
              </a:ln>
              <a:extLst>
                <a:ext uri="{909E8E84-426E-40DD-AFC4-6F175D3DCCD1}">
                  <a14:hiddenFill xmlns:a14="http://schemas.microsoft.com/office/drawing/2010/main">
                    <a:solidFill>
                      <a:srgbClr val="FFFFFF"/>
                    </a:solidFill>
                  </a14:hiddenFill>
                </a:ext>
              </a:extLst>
            </p:spPr>
            <p:txBody>
              <a:bodyPr anchor="ctr"/>
              <a:lstStyle/>
              <a:p>
                <a:endParaRPr lang="de-DE"/>
              </a:p>
            </p:txBody>
          </p:sp>
        </p:grpSp>
        <p:sp>
          <p:nvSpPr>
            <p:cNvPr id="163" name="Rectangle 18" descr="Diagonal dunkel nach oben"/>
            <p:cNvSpPr>
              <a:spLocks noChangeAspect="1" noChangeArrowheads="1"/>
            </p:cNvSpPr>
            <p:nvPr/>
          </p:nvSpPr>
          <p:spPr bwMode="auto">
            <a:xfrm>
              <a:off x="4932363" y="3587750"/>
              <a:ext cx="712787" cy="57150"/>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64" name="AutoShape 21" descr="Konturierte Raute"/>
            <p:cNvSpPr>
              <a:spLocks noChangeAspect="1" noChangeArrowheads="1"/>
            </p:cNvSpPr>
            <p:nvPr/>
          </p:nvSpPr>
          <p:spPr bwMode="auto">
            <a:xfrm flipV="1">
              <a:off x="4643438" y="3636963"/>
              <a:ext cx="2665412" cy="71437"/>
            </a:xfrm>
            <a:prstGeom prst="roundRect">
              <a:avLst>
                <a:gd name="adj" fmla="val 37764"/>
              </a:avLst>
            </a:prstGeom>
            <a:pattFill prst="openDmnd">
              <a:fgClr>
                <a:srgbClr val="000000"/>
              </a:fgClr>
              <a:bgClr>
                <a:srgbClr val="FFFFFF"/>
              </a:bgClr>
            </a:pattFill>
            <a:ln w="9525">
              <a:solidFill>
                <a:srgbClr val="000000"/>
              </a:solidFill>
              <a:round/>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65" name="Rectangle 23" descr="Diagonal dunkel nach oben"/>
            <p:cNvSpPr>
              <a:spLocks noChangeAspect="1" noChangeArrowheads="1"/>
            </p:cNvSpPr>
            <p:nvPr/>
          </p:nvSpPr>
          <p:spPr bwMode="auto">
            <a:xfrm>
              <a:off x="6127750" y="3573463"/>
              <a:ext cx="712788" cy="57150"/>
            </a:xfrm>
            <a:prstGeom prst="rect">
              <a:avLst/>
            </a:prstGeom>
            <a:pattFill prst="dkUpDiag">
              <a:fgClr>
                <a:srgbClr val="000000"/>
              </a:fgClr>
              <a:bgClr>
                <a:srgbClr val="FFFFFF"/>
              </a:bgClr>
            </a:pattFill>
            <a:ln w="9525">
              <a:solidFill>
                <a:srgbClr val="000000"/>
              </a:solidFill>
              <a:miter lim="800000"/>
              <a:headEnd/>
              <a:tailEnd/>
            </a:ln>
          </p:spPr>
          <p:txBody>
            <a:bodyPr/>
            <a:lstStyle/>
            <a:p>
              <a:pPr eaLnBrk="1" hangingPunct="1">
                <a:buClr>
                  <a:srgbClr val="000000"/>
                </a:buClr>
                <a:buSzPct val="100000"/>
                <a:buFont typeface="Times New Roman" panose="02020603050405020304" pitchFamily="18" charset="0"/>
                <a:buNone/>
              </a:pPr>
              <a:endParaRPr lang="de-DE" altLang="de-DE"/>
            </a:p>
          </p:txBody>
        </p:sp>
        <p:grpSp>
          <p:nvGrpSpPr>
            <p:cNvPr id="166" name="Gruppieren 406"/>
            <p:cNvGrpSpPr>
              <a:grpSpLocks/>
            </p:cNvGrpSpPr>
            <p:nvPr/>
          </p:nvGrpSpPr>
          <p:grpSpPr bwMode="auto">
            <a:xfrm rot="1363288">
              <a:off x="5208588" y="2343150"/>
              <a:ext cx="1798637" cy="1009650"/>
              <a:chOff x="6083300" y="2205434"/>
              <a:chExt cx="1798638" cy="1009254"/>
            </a:xfrm>
          </p:grpSpPr>
          <p:sp>
            <p:nvSpPr>
              <p:cNvPr id="195" name="Oval 80"/>
              <p:cNvSpPr>
                <a:spLocks noChangeArrowheads="1"/>
              </p:cNvSpPr>
              <p:nvPr/>
            </p:nvSpPr>
            <p:spPr bwMode="auto">
              <a:xfrm>
                <a:off x="6370638" y="278130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6" name="Oval 91"/>
              <p:cNvSpPr>
                <a:spLocks noChangeArrowheads="1"/>
              </p:cNvSpPr>
              <p:nvPr/>
            </p:nvSpPr>
            <p:spPr bwMode="auto">
              <a:xfrm>
                <a:off x="6946900" y="2565400"/>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7" name="Oval 92"/>
              <p:cNvSpPr>
                <a:spLocks noChangeArrowheads="1"/>
              </p:cNvSpPr>
              <p:nvPr/>
            </p:nvSpPr>
            <p:spPr bwMode="auto">
              <a:xfrm>
                <a:off x="7089775" y="263683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8" name="Oval 93"/>
              <p:cNvSpPr>
                <a:spLocks noChangeArrowheads="1"/>
              </p:cNvSpPr>
              <p:nvPr/>
            </p:nvSpPr>
            <p:spPr bwMode="auto">
              <a:xfrm>
                <a:off x="6083300" y="24209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9" name="Oval 94"/>
              <p:cNvSpPr>
                <a:spLocks noChangeArrowheads="1"/>
              </p:cNvSpPr>
              <p:nvPr/>
            </p:nvSpPr>
            <p:spPr bwMode="auto">
              <a:xfrm>
                <a:off x="6226175" y="24923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0" name="Oval 95"/>
              <p:cNvSpPr>
                <a:spLocks noChangeArrowheads="1"/>
              </p:cNvSpPr>
              <p:nvPr/>
            </p:nvSpPr>
            <p:spPr bwMode="auto">
              <a:xfrm>
                <a:off x="7269163" y="256540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1" name="Oval 97"/>
              <p:cNvSpPr>
                <a:spLocks noChangeArrowheads="1"/>
              </p:cNvSpPr>
              <p:nvPr/>
            </p:nvSpPr>
            <p:spPr bwMode="auto">
              <a:xfrm>
                <a:off x="7196138" y="292417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2" name="Oval 98"/>
              <p:cNvSpPr>
                <a:spLocks noChangeArrowheads="1"/>
              </p:cNvSpPr>
              <p:nvPr/>
            </p:nvSpPr>
            <p:spPr bwMode="auto">
              <a:xfrm>
                <a:off x="6405563" y="2420938"/>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3" name="Oval 99"/>
              <p:cNvSpPr>
                <a:spLocks noChangeArrowheads="1"/>
              </p:cNvSpPr>
              <p:nvPr/>
            </p:nvSpPr>
            <p:spPr bwMode="auto">
              <a:xfrm>
                <a:off x="6548438" y="249237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4" name="Oval 100"/>
              <p:cNvSpPr>
                <a:spLocks noChangeArrowheads="1"/>
              </p:cNvSpPr>
              <p:nvPr/>
            </p:nvSpPr>
            <p:spPr bwMode="auto">
              <a:xfrm>
                <a:off x="6115050" y="27082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5" name="Oval 101"/>
              <p:cNvSpPr>
                <a:spLocks noChangeArrowheads="1"/>
              </p:cNvSpPr>
              <p:nvPr/>
            </p:nvSpPr>
            <p:spPr bwMode="auto">
              <a:xfrm>
                <a:off x="7521575" y="24209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6" name="Oval 102"/>
              <p:cNvSpPr>
                <a:spLocks noChangeArrowheads="1"/>
              </p:cNvSpPr>
              <p:nvPr/>
            </p:nvSpPr>
            <p:spPr bwMode="auto">
              <a:xfrm>
                <a:off x="6584950" y="26368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7" name="Oval 103"/>
              <p:cNvSpPr>
                <a:spLocks noChangeArrowheads="1"/>
              </p:cNvSpPr>
              <p:nvPr/>
            </p:nvSpPr>
            <p:spPr bwMode="auto">
              <a:xfrm>
                <a:off x="6875463" y="278130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8" name="Oval 104"/>
              <p:cNvSpPr>
                <a:spLocks noChangeArrowheads="1"/>
              </p:cNvSpPr>
              <p:nvPr/>
            </p:nvSpPr>
            <p:spPr bwMode="auto">
              <a:xfrm>
                <a:off x="7018338" y="2852738"/>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09" name="Oval 105"/>
              <p:cNvSpPr>
                <a:spLocks noChangeArrowheads="1"/>
              </p:cNvSpPr>
              <p:nvPr/>
            </p:nvSpPr>
            <p:spPr bwMode="auto">
              <a:xfrm>
                <a:off x="6659563" y="2781300"/>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10" name="Oval 106"/>
              <p:cNvSpPr>
                <a:spLocks noChangeArrowheads="1"/>
              </p:cNvSpPr>
              <p:nvPr/>
            </p:nvSpPr>
            <p:spPr bwMode="auto">
              <a:xfrm>
                <a:off x="6919366" y="3070225"/>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11" name="Oval 107"/>
              <p:cNvSpPr>
                <a:spLocks noChangeArrowheads="1"/>
              </p:cNvSpPr>
              <p:nvPr/>
            </p:nvSpPr>
            <p:spPr bwMode="auto">
              <a:xfrm>
                <a:off x="7062241" y="3141663"/>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12" name="Oval 108"/>
              <p:cNvSpPr>
                <a:spLocks noChangeArrowheads="1"/>
              </p:cNvSpPr>
              <p:nvPr/>
            </p:nvSpPr>
            <p:spPr bwMode="auto">
              <a:xfrm>
                <a:off x="7197725" y="2781300"/>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13" name="Oval 110"/>
              <p:cNvSpPr>
                <a:spLocks noChangeArrowheads="1"/>
              </p:cNvSpPr>
              <p:nvPr/>
            </p:nvSpPr>
            <p:spPr bwMode="auto">
              <a:xfrm>
                <a:off x="7845425" y="2205434"/>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214" name="Oval 111"/>
              <p:cNvSpPr>
                <a:spLocks noChangeArrowheads="1"/>
              </p:cNvSpPr>
              <p:nvPr/>
            </p:nvSpPr>
            <p:spPr bwMode="auto">
              <a:xfrm>
                <a:off x="7271791" y="3070225"/>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167" name="Oval 80"/>
            <p:cNvSpPr>
              <a:spLocks noChangeArrowheads="1"/>
            </p:cNvSpPr>
            <p:nvPr/>
          </p:nvSpPr>
          <p:spPr bwMode="auto">
            <a:xfrm rot="1363288">
              <a:off x="6296025" y="2755900"/>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68" name="Oval 91"/>
            <p:cNvSpPr>
              <a:spLocks noChangeArrowheads="1"/>
            </p:cNvSpPr>
            <p:nvPr/>
          </p:nvSpPr>
          <p:spPr bwMode="auto">
            <a:xfrm rot="1363288">
              <a:off x="7081838" y="231775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69" name="Oval 92"/>
            <p:cNvSpPr>
              <a:spLocks noChangeArrowheads="1"/>
            </p:cNvSpPr>
            <p:nvPr/>
          </p:nvSpPr>
          <p:spPr bwMode="auto">
            <a:xfrm rot="1363288">
              <a:off x="7200900" y="2441575"/>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0" name="Oval 93"/>
            <p:cNvSpPr>
              <a:spLocks noChangeArrowheads="1"/>
            </p:cNvSpPr>
            <p:nvPr/>
          </p:nvSpPr>
          <p:spPr bwMode="auto">
            <a:xfrm rot="1363288">
              <a:off x="6170613" y="231140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1" name="Oval 94"/>
            <p:cNvSpPr>
              <a:spLocks noChangeArrowheads="1"/>
            </p:cNvSpPr>
            <p:nvPr/>
          </p:nvSpPr>
          <p:spPr bwMode="auto">
            <a:xfrm rot="1363288">
              <a:off x="6288088" y="2435225"/>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2" name="Oval 97"/>
            <p:cNvSpPr>
              <a:spLocks noChangeArrowheads="1"/>
            </p:cNvSpPr>
            <p:nvPr/>
          </p:nvSpPr>
          <p:spPr bwMode="auto">
            <a:xfrm rot="1363288">
              <a:off x="7016750" y="320833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3" name="Oval 98"/>
            <p:cNvSpPr>
              <a:spLocks noChangeArrowheads="1"/>
            </p:cNvSpPr>
            <p:nvPr/>
          </p:nvSpPr>
          <p:spPr bwMode="auto">
            <a:xfrm rot="1363288">
              <a:off x="6467475" y="2436813"/>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4" name="Oval 99"/>
            <p:cNvSpPr>
              <a:spLocks noChangeArrowheads="1"/>
            </p:cNvSpPr>
            <p:nvPr/>
          </p:nvSpPr>
          <p:spPr bwMode="auto">
            <a:xfrm rot="1363288">
              <a:off x="6584950" y="256063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5" name="Oval 100"/>
            <p:cNvSpPr>
              <a:spLocks noChangeArrowheads="1"/>
            </p:cNvSpPr>
            <p:nvPr/>
          </p:nvSpPr>
          <p:spPr bwMode="auto">
            <a:xfrm rot="1363288">
              <a:off x="6102350" y="259238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6" name="Oval 102"/>
            <p:cNvSpPr>
              <a:spLocks noChangeArrowheads="1"/>
            </p:cNvSpPr>
            <p:nvPr/>
          </p:nvSpPr>
          <p:spPr bwMode="auto">
            <a:xfrm rot="1363288">
              <a:off x="6550025" y="2705100"/>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7" name="Oval 103"/>
            <p:cNvSpPr>
              <a:spLocks noChangeArrowheads="1"/>
            </p:cNvSpPr>
            <p:nvPr/>
          </p:nvSpPr>
          <p:spPr bwMode="auto">
            <a:xfrm rot="1363288">
              <a:off x="6932613" y="248920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8" name="Oval 104"/>
            <p:cNvSpPr>
              <a:spLocks noChangeArrowheads="1"/>
            </p:cNvSpPr>
            <p:nvPr/>
          </p:nvSpPr>
          <p:spPr bwMode="auto">
            <a:xfrm rot="1363288">
              <a:off x="6880225" y="3073400"/>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79" name="Oval 105"/>
            <p:cNvSpPr>
              <a:spLocks noChangeArrowheads="1"/>
            </p:cNvSpPr>
            <p:nvPr/>
          </p:nvSpPr>
          <p:spPr bwMode="auto">
            <a:xfrm rot="1363288">
              <a:off x="6577013" y="2870200"/>
              <a:ext cx="36512"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0" name="Oval 106"/>
            <p:cNvSpPr>
              <a:spLocks noChangeArrowheads="1"/>
            </p:cNvSpPr>
            <p:nvPr/>
          </p:nvSpPr>
          <p:spPr bwMode="auto">
            <a:xfrm rot="1363288">
              <a:off x="6689725" y="323373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1" name="Oval 107"/>
            <p:cNvSpPr>
              <a:spLocks noChangeArrowheads="1"/>
            </p:cNvSpPr>
            <p:nvPr/>
          </p:nvSpPr>
          <p:spPr bwMode="auto">
            <a:xfrm rot="1363288">
              <a:off x="6808788" y="3357563"/>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2" name="Oval 108"/>
            <p:cNvSpPr>
              <a:spLocks noChangeArrowheads="1"/>
            </p:cNvSpPr>
            <p:nvPr/>
          </p:nvSpPr>
          <p:spPr bwMode="auto">
            <a:xfrm rot="1363288">
              <a:off x="7058025" y="307498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3" name="Oval 80"/>
            <p:cNvSpPr>
              <a:spLocks noChangeArrowheads="1"/>
            </p:cNvSpPr>
            <p:nvPr/>
          </p:nvSpPr>
          <p:spPr bwMode="auto">
            <a:xfrm rot="1363288">
              <a:off x="6534150" y="2711450"/>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4" name="Oval 91"/>
            <p:cNvSpPr>
              <a:spLocks noChangeArrowheads="1"/>
            </p:cNvSpPr>
            <p:nvPr/>
          </p:nvSpPr>
          <p:spPr bwMode="auto">
            <a:xfrm rot="1363288">
              <a:off x="7148513" y="2735263"/>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5" name="Oval 93"/>
            <p:cNvSpPr>
              <a:spLocks noChangeArrowheads="1"/>
            </p:cNvSpPr>
            <p:nvPr/>
          </p:nvSpPr>
          <p:spPr bwMode="auto">
            <a:xfrm rot="1363288">
              <a:off x="6407150" y="2266950"/>
              <a:ext cx="36513"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6" name="Oval 94"/>
            <p:cNvSpPr>
              <a:spLocks noChangeArrowheads="1"/>
            </p:cNvSpPr>
            <p:nvPr/>
          </p:nvSpPr>
          <p:spPr bwMode="auto">
            <a:xfrm rot="1363288">
              <a:off x="6526213" y="2392363"/>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7" name="Oval 98"/>
            <p:cNvSpPr>
              <a:spLocks noChangeArrowheads="1"/>
            </p:cNvSpPr>
            <p:nvPr/>
          </p:nvSpPr>
          <p:spPr bwMode="auto">
            <a:xfrm rot="1363288">
              <a:off x="6705600" y="2392363"/>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8" name="Oval 99"/>
            <p:cNvSpPr>
              <a:spLocks noChangeArrowheads="1"/>
            </p:cNvSpPr>
            <p:nvPr/>
          </p:nvSpPr>
          <p:spPr bwMode="auto">
            <a:xfrm rot="1363288">
              <a:off x="6823075" y="251618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89" name="Oval 100"/>
            <p:cNvSpPr>
              <a:spLocks noChangeArrowheads="1"/>
            </p:cNvSpPr>
            <p:nvPr/>
          </p:nvSpPr>
          <p:spPr bwMode="auto">
            <a:xfrm rot="1363288">
              <a:off x="6340475" y="2547938"/>
              <a:ext cx="36513"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0" name="Oval 102"/>
            <p:cNvSpPr>
              <a:spLocks noChangeArrowheads="1"/>
            </p:cNvSpPr>
            <p:nvPr/>
          </p:nvSpPr>
          <p:spPr bwMode="auto">
            <a:xfrm rot="1363288">
              <a:off x="6786563" y="2660650"/>
              <a:ext cx="36512" cy="144463"/>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1" name="Oval 103"/>
            <p:cNvSpPr>
              <a:spLocks noChangeArrowheads="1"/>
            </p:cNvSpPr>
            <p:nvPr/>
          </p:nvSpPr>
          <p:spPr bwMode="auto">
            <a:xfrm rot="1363288">
              <a:off x="6999288" y="2906713"/>
              <a:ext cx="36512"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2" name="Oval 105"/>
            <p:cNvSpPr>
              <a:spLocks noChangeArrowheads="1"/>
            </p:cNvSpPr>
            <p:nvPr/>
          </p:nvSpPr>
          <p:spPr bwMode="auto">
            <a:xfrm rot="1363288">
              <a:off x="6813550" y="2825750"/>
              <a:ext cx="36513" cy="71438"/>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3" name="Oval 106"/>
            <p:cNvSpPr>
              <a:spLocks noChangeArrowheads="1"/>
            </p:cNvSpPr>
            <p:nvPr/>
          </p:nvSpPr>
          <p:spPr bwMode="auto">
            <a:xfrm rot="1363288">
              <a:off x="6927850" y="3189288"/>
              <a:ext cx="36513" cy="144462"/>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sp>
          <p:nvSpPr>
            <p:cNvPr id="194" name="Oval 107"/>
            <p:cNvSpPr>
              <a:spLocks noChangeArrowheads="1"/>
            </p:cNvSpPr>
            <p:nvPr/>
          </p:nvSpPr>
          <p:spPr bwMode="auto">
            <a:xfrm rot="1363288">
              <a:off x="7046913" y="3313113"/>
              <a:ext cx="36512" cy="71437"/>
            </a:xfrm>
            <a:prstGeom prst="ellipse">
              <a:avLst/>
            </a:prstGeom>
            <a:solidFill>
              <a:srgbClr val="3399FF"/>
            </a:solidFill>
            <a:ln>
              <a:noFill/>
            </a:ln>
            <a:extLst>
              <a:ext uri="{91240B29-F687-4F45-9708-019B960494DF}">
                <a14:hiddenLine xmlns:a14="http://schemas.microsoft.com/office/drawing/2010/main" w="0">
                  <a:solidFill>
                    <a:srgbClr val="000000"/>
                  </a:solidFill>
                  <a:round/>
                  <a:headEnd/>
                  <a:tailEnd/>
                </a14:hiddenLine>
              </a:ext>
            </a:extLst>
          </p:spPr>
          <p:txBody>
            <a:bodyPr/>
            <a:lstStyle/>
            <a:p>
              <a:pPr eaLnBrk="1" hangingPunct="1">
                <a:buClr>
                  <a:srgbClr val="000000"/>
                </a:buClr>
                <a:buSzPct val="100000"/>
                <a:buFont typeface="Times New Roman" panose="02020603050405020304" pitchFamily="18" charset="0"/>
                <a:buNone/>
              </a:pPr>
              <a:endParaRPr lang="de-DE" altLang="de-DE"/>
            </a:p>
          </p:txBody>
        </p:sp>
      </p:grpSp>
      <p:sp>
        <p:nvSpPr>
          <p:cNvPr id="370" name="Rechteck 369"/>
          <p:cNvSpPr/>
          <p:nvPr/>
        </p:nvSpPr>
        <p:spPr>
          <a:xfrm>
            <a:off x="827584" y="2089690"/>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Verfahren</a:t>
            </a:r>
            <a:endParaRPr lang="de-DE" sz="2800" dirty="0">
              <a:solidFill>
                <a:srgbClr val="394994"/>
              </a:solidFill>
            </a:endParaRPr>
          </a:p>
        </p:txBody>
      </p:sp>
      <p:sp>
        <p:nvSpPr>
          <p:cNvPr id="371" name="Rechteck 370"/>
          <p:cNvSpPr/>
          <p:nvPr/>
        </p:nvSpPr>
        <p:spPr>
          <a:xfrm>
            <a:off x="5724128" y="2074932"/>
            <a:ext cx="2303462" cy="576262"/>
          </a:xfrm>
          <a:prstGeom prst="rect">
            <a:avLst/>
          </a:prstGeom>
          <a:solidFill>
            <a:srgbClr val="C5C5C5"/>
          </a:solidFill>
          <a:ln>
            <a:solidFill>
              <a:srgbClr val="39499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sz="2800" dirty="0" smtClean="0">
                <a:solidFill>
                  <a:srgbClr val="394994"/>
                </a:solidFill>
              </a:rPr>
              <a:t>Nutzen</a:t>
            </a:r>
            <a:endParaRPr lang="de-DE" sz="2800" dirty="0">
              <a:solidFill>
                <a:srgbClr val="394994"/>
              </a:solidFill>
            </a:endParaRPr>
          </a:p>
        </p:txBody>
      </p:sp>
      <p:sp>
        <p:nvSpPr>
          <p:cNvPr id="373" name="Foliennummernplatzhalter 3"/>
          <p:cNvSpPr txBox="1">
            <a:spLocks/>
          </p:cNvSpPr>
          <p:nvPr/>
        </p:nvSpPr>
        <p:spPr>
          <a:xfrm>
            <a:off x="6732240" y="6456452"/>
            <a:ext cx="2133600" cy="365125"/>
          </a:xfrm>
          <a:prstGeom prst="rect">
            <a:avLst/>
          </a:prstGeom>
        </p:spPr>
        <p:txBody>
          <a:bodyPr/>
          <a:lstStyle>
            <a:defPPr>
              <a:defRPr lang="es-ES"/>
            </a:defPPr>
            <a:lvl1pPr marL="0" algn="r" defTabSz="914400" rtl="0" eaLnBrk="1" latinLnBrk="0" hangingPunct="1">
              <a:defRPr sz="1400" kern="1200">
                <a:solidFill>
                  <a:schemeClr val="accent4">
                    <a:lumMod val="1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dirty="0" smtClean="0"/>
              <a:t>8</a:t>
            </a:r>
            <a:endParaRPr lang="es-ES" dirty="0"/>
          </a:p>
        </p:txBody>
      </p:sp>
    </p:spTree>
    <p:extLst>
      <p:ext uri="{BB962C8B-B14F-4D97-AF65-F5344CB8AC3E}">
        <p14:creationId xmlns:p14="http://schemas.microsoft.com/office/powerpoint/2010/main" val="243454443"/>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Narrow"/>
        <a:ea typeface="ＭＳ Ｐゴシック"/>
        <a:cs typeface=""/>
      </a:majorFont>
      <a:minorFont>
        <a:latin typeface="Arial Narrow"/>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charset="0"/>
          <a:buNone/>
          <a:tabLst/>
          <a:defRPr kumimoji="0" lang="en-GB" sz="1700" b="0" i="0" u="none" strike="noStrike" cap="none" normalizeH="0" baseline="0">
            <a:ln>
              <a:noFill/>
            </a:ln>
            <a:solidFill>
              <a:schemeClr val="bg1"/>
            </a:solidFill>
            <a:effectLst/>
            <a:latin typeface="Arial Narrow" charset="0"/>
            <a:ea typeface="ＭＳ Ｐゴシック"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charset="0"/>
          <a:buNone/>
          <a:tabLst/>
          <a:defRPr kumimoji="0" lang="en-GB" sz="1700" b="0" i="0" u="none" strike="noStrike" cap="none" normalizeH="0" baseline="0">
            <a:ln>
              <a:noFill/>
            </a:ln>
            <a:solidFill>
              <a:schemeClr val="bg1"/>
            </a:solidFill>
            <a:effectLst/>
            <a:latin typeface="Arial Narrow" charset="0"/>
            <a:ea typeface="ＭＳ Ｐゴシック" charset="0"/>
          </a:defRPr>
        </a:defPPr>
      </a:lstStyle>
    </a:lnDef>
  </a:objectDefaults>
  <a:extraClrSchemeLst>
    <a:extraClrScheme>
      <a:clrScheme name="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tandarddesign">
  <a:themeElements>
    <a:clrScheme name="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charset="0"/>
          <a:buNone/>
          <a:tabLst/>
          <a:defRPr kumimoji="0" lang="en-GB" sz="1700" b="0" i="0" u="none" strike="noStrike" cap="none" normalizeH="0" baseline="0">
            <a:ln>
              <a:noFill/>
            </a:ln>
            <a:solidFill>
              <a:schemeClr val="bg1"/>
            </a:solidFill>
            <a:effectLst/>
            <a:latin typeface="Arial Narrow" charset="0"/>
            <a:ea typeface="ＭＳ Ｐゴシック"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charset="0"/>
          <a:buNone/>
          <a:tabLst/>
          <a:defRPr kumimoji="0" lang="en-GB" sz="1700" b="0" i="0" u="none" strike="noStrike" cap="none" normalizeH="0" baseline="0">
            <a:ln>
              <a:noFill/>
            </a:ln>
            <a:solidFill>
              <a:schemeClr val="bg1"/>
            </a:solidFill>
            <a:effectLst/>
            <a:latin typeface="Arial Narrow" charset="0"/>
            <a:ea typeface="ＭＳ Ｐゴシック" charset="0"/>
          </a:defRPr>
        </a:defPPr>
      </a:lstStyle>
    </a:lnDef>
  </a:objectDefaults>
  <a:extraClrSchemeLst>
    <a:extraClrScheme>
      <a:clrScheme name="Standard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0</TotalTime>
  <Words>994</Words>
  <Application>Microsoft Office PowerPoint</Application>
  <PresentationFormat>Bildschirmpräsentation (4:3)</PresentationFormat>
  <Paragraphs>259</Paragraphs>
  <Slides>22</Slides>
  <Notes>20</Notes>
  <HiddenSlides>0</HiddenSlides>
  <MMClips>0</MMClips>
  <ScaleCrop>false</ScaleCrop>
  <HeadingPairs>
    <vt:vector size="8" baseType="variant">
      <vt:variant>
        <vt:lpstr>Verwendete Schriftarten</vt:lpstr>
      </vt:variant>
      <vt:variant>
        <vt:i4>9</vt:i4>
      </vt:variant>
      <vt:variant>
        <vt:lpstr>Design</vt:lpstr>
      </vt:variant>
      <vt:variant>
        <vt:i4>3</vt:i4>
      </vt:variant>
      <vt:variant>
        <vt:lpstr>Eingebettete OLE-Server</vt:lpstr>
      </vt:variant>
      <vt:variant>
        <vt:i4>1</vt:i4>
      </vt:variant>
      <vt:variant>
        <vt:lpstr>Folientitel</vt:lpstr>
      </vt:variant>
      <vt:variant>
        <vt:i4>22</vt:i4>
      </vt:variant>
    </vt:vector>
  </HeadingPairs>
  <TitlesOfParts>
    <vt:vector size="35" baseType="lpstr">
      <vt:lpstr>ＭＳ Ｐゴシック</vt:lpstr>
      <vt:lpstr>ＭＳ Ｐゴシック</vt:lpstr>
      <vt:lpstr>Arial</vt:lpstr>
      <vt:lpstr>Arial </vt:lpstr>
      <vt:lpstr>Arial Narrow</vt:lpstr>
      <vt:lpstr>Calibri</vt:lpstr>
      <vt:lpstr>Calibri Light</vt:lpstr>
      <vt:lpstr>Times New Roman</vt:lpstr>
      <vt:lpstr>Webdings</vt:lpstr>
      <vt:lpstr>Standarddesign</vt:lpstr>
      <vt:lpstr>1_Standarddesign</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Solardynamik GmbH</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lardynamik System</dc:title>
  <dc:creator>Karl-Friedrich Harter</dc:creator>
  <cp:lastModifiedBy>Karl-Friedrich Harter</cp:lastModifiedBy>
  <cp:revision>3029</cp:revision>
  <cp:lastPrinted>2007-09-24T09:11:27Z</cp:lastPrinted>
  <dcterms:created xsi:type="dcterms:W3CDTF">2006-08-25T15:23:19Z</dcterms:created>
  <dcterms:modified xsi:type="dcterms:W3CDTF">2016-05-01T07:39:24Z</dcterms:modified>
</cp:coreProperties>
</file>